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6"/>
  </p:notesMasterIdLst>
  <p:sldIdLst>
    <p:sldId id="323" r:id="rId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5333860B-D50B-D815-C8D5-43F22031DE36}" name="Claudia Quian" initials="CQ" userId="S::clquian@microsoft.com::284e327a-165e-41c4-92db-4400aa26c6b9" providerId="AD"/>
  <p188:author id="{08D95D0C-39E1-3A75-A14D-51414EACF22A}" name="Alexis Tenorio" initials="" userId="S::alextenorio@microsoft.com::017cb068-250c-4987-b7d0-2b1742d9f06d" providerId="AD"/>
  <p188:author id="{A2BFC06A-1515-A856-8977-40D20D8CD380}" name="Karen Redetzki (NAYAMODE INC)" initials="KR" userId="S::v-karere@microsoft.com::fa4b0aee-6e93-44f4-aca3-bae7f87ad0a1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4F8FE"/>
    <a:srgbClr val="F4F4FE"/>
    <a:srgbClr val="ECF3FA"/>
    <a:srgbClr val="EAF2F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307A0D6-E457-480C-A2DF-930816D2A8B4}" v="45" dt="2024-12-10T22:29:20.447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50" d="100"/>
          <a:sy n="150" d="100"/>
        </p:scale>
        <p:origin x="2886" y="1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presProps" Target="presProps.xml"/><Relationship Id="rId12" Type="http://schemas.microsoft.com/office/2018/10/relationships/authors" Target="author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microsoft.com/office/2015/10/relationships/revisionInfo" Target="revisionInfo.xml"/><Relationship Id="rId5" Type="http://schemas.openxmlformats.org/officeDocument/2006/relationships/slide" Target="slides/slide1.xml"/><Relationship Id="rId1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8C94663-943A-41A0-8F19-C615E02DE101}" type="datetimeFigureOut">
              <a:rPr lang="en-US" smtClean="0"/>
              <a:t>4/17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B9C0082-DCF3-469F-85BB-A476FCFBDBA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40123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6F9C87-CE2E-DA4C-F4D5-FC5CE6C76C6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B549B13-D098-3AF0-5603-A45D11DF9D3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BA4187-5D93-84C0-3739-45794DB2B1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1CAABC-D95E-4838-8CE2-FC16B5FC7DC6}" type="datetimeFigureOut">
              <a:rPr lang="en-US" smtClean="0"/>
              <a:t>4/1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0028D7A-EE9A-0DC8-F7F9-6A6FCDFD61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86C301F-6940-9A97-ED30-A67A48677D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7F255F-3C42-4CFA-923C-99DFF8B163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653991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DB6711-D43B-5C92-1BE4-36A9ECC596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EBB80E5-36DD-B0F3-A548-EFAB8F0EB53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D782634-7366-A7FF-1490-D7931A115D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1CAABC-D95E-4838-8CE2-FC16B5FC7DC6}" type="datetimeFigureOut">
              <a:rPr lang="en-US" smtClean="0"/>
              <a:t>4/1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170AE38-59BA-56B5-EE93-83A236F42D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20AD04-2D02-BDE6-DD18-410E77A0FB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7F255F-3C42-4CFA-923C-99DFF8B163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89036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E54FAE0-9F29-DB4E-A8C5-698941A7888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71D949A-B25D-E6B2-CBB2-7990634F80C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6A9DBBF-D185-8C13-0406-4EF917C054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1CAABC-D95E-4838-8CE2-FC16B5FC7DC6}" type="datetimeFigureOut">
              <a:rPr lang="en-US" smtClean="0"/>
              <a:t>4/1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C1A3217-79DA-C009-20A8-AD20D0CCA4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8A267A9-BFEE-1A3D-CC60-66F3734B42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7F255F-3C42-4CFA-923C-99DFF8B163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87209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Light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7ECD1D6D-E8F0-9AF0-7B48-3571391A0E6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F818133F-23B1-9DB9-FA4E-B63791561275}"/>
              </a:ext>
            </a:extLst>
          </p:cNvPr>
          <p:cNvGrpSpPr/>
          <p:nvPr userDrawn="1"/>
        </p:nvGrpSpPr>
        <p:grpSpPr>
          <a:xfrm>
            <a:off x="330026" y="6625887"/>
            <a:ext cx="93750" cy="93822"/>
            <a:chOff x="581025" y="6570663"/>
            <a:chExt cx="113437" cy="113524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4C3E695D-D1D5-E97F-3848-9B075220DD31}"/>
                </a:ext>
              </a:extLst>
            </p:cNvPr>
            <p:cNvSpPr/>
            <p:nvPr userDrawn="1"/>
          </p:nvSpPr>
          <p:spPr>
            <a:xfrm>
              <a:off x="581025" y="6570663"/>
              <a:ext cx="52716" cy="52716"/>
            </a:xfrm>
            <a:prstGeom prst="rect">
              <a:avLst/>
            </a:prstGeom>
            <a:solidFill>
              <a:srgbClr val="2626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D76BB6E7-08F1-F3C7-A749-42E7CF89696C}"/>
                </a:ext>
              </a:extLst>
            </p:cNvPr>
            <p:cNvSpPr/>
            <p:nvPr userDrawn="1"/>
          </p:nvSpPr>
          <p:spPr>
            <a:xfrm>
              <a:off x="641746" y="6570663"/>
              <a:ext cx="52716" cy="52716"/>
            </a:xfrm>
            <a:prstGeom prst="rect">
              <a:avLst/>
            </a:prstGeom>
            <a:solidFill>
              <a:srgbClr val="2626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F73C12ED-BB00-5A1A-7751-4D4C9015F6A5}"/>
                </a:ext>
              </a:extLst>
            </p:cNvPr>
            <p:cNvSpPr/>
            <p:nvPr userDrawn="1"/>
          </p:nvSpPr>
          <p:spPr>
            <a:xfrm>
              <a:off x="581025" y="6631471"/>
              <a:ext cx="52716" cy="52716"/>
            </a:xfrm>
            <a:prstGeom prst="rect">
              <a:avLst/>
            </a:prstGeom>
            <a:solidFill>
              <a:srgbClr val="2626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37D2C6AC-5D59-0DEC-9268-52F1AC5BD4D6}"/>
                </a:ext>
              </a:extLst>
            </p:cNvPr>
            <p:cNvSpPr/>
            <p:nvPr userDrawn="1"/>
          </p:nvSpPr>
          <p:spPr>
            <a:xfrm>
              <a:off x="641746" y="6631471"/>
              <a:ext cx="52716" cy="52716"/>
            </a:xfrm>
            <a:prstGeom prst="rect">
              <a:avLst/>
            </a:prstGeom>
            <a:solidFill>
              <a:srgbClr val="2626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itle 1">
            <a:extLst>
              <a:ext uri="{FF2B5EF4-FFF2-40B4-BE49-F238E27FC236}">
                <a16:creationId xmlns:a16="http://schemas.microsoft.com/office/drawing/2014/main" id="{5CB300F4-23D5-483B-FDA9-F0C4507D4728}"/>
              </a:ext>
            </a:extLst>
          </p:cNvPr>
          <p:cNvSpPr txBox="1">
            <a:spLocks/>
          </p:cNvSpPr>
          <p:nvPr userDrawn="1"/>
        </p:nvSpPr>
        <p:spPr>
          <a:xfrm>
            <a:off x="657225" y="6624654"/>
            <a:ext cx="1776413" cy="99996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Segoe Sans Display" pitchFamily="2" charset="0"/>
                <a:ea typeface="+mj-ea"/>
                <a:cs typeface="Segoe Sans Display" pitchFamily="2" charset="0"/>
              </a:rPr>
              <a:t>Microsoft High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19119764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04">
          <p15:clr>
            <a:srgbClr val="FBAE40"/>
          </p15:clr>
        </p15:guide>
        <p15:guide id="2" pos="3456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Light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white and blue background&#10;&#10;Description automatically generated">
            <a:extLst>
              <a:ext uri="{FF2B5EF4-FFF2-40B4-BE49-F238E27FC236}">
                <a16:creationId xmlns:a16="http://schemas.microsoft.com/office/drawing/2014/main" id="{6D7AE2B5-1A2D-6A7A-62F9-12F16604496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F818133F-23B1-9DB9-FA4E-B63791561275}"/>
              </a:ext>
            </a:extLst>
          </p:cNvPr>
          <p:cNvGrpSpPr/>
          <p:nvPr userDrawn="1"/>
        </p:nvGrpSpPr>
        <p:grpSpPr>
          <a:xfrm>
            <a:off x="330026" y="6625887"/>
            <a:ext cx="93750" cy="93822"/>
            <a:chOff x="581025" y="6570663"/>
            <a:chExt cx="113437" cy="113524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4C3E695D-D1D5-E97F-3848-9B075220DD31}"/>
                </a:ext>
              </a:extLst>
            </p:cNvPr>
            <p:cNvSpPr/>
            <p:nvPr userDrawn="1"/>
          </p:nvSpPr>
          <p:spPr>
            <a:xfrm>
              <a:off x="581025" y="6570663"/>
              <a:ext cx="52716" cy="52716"/>
            </a:xfrm>
            <a:prstGeom prst="rect">
              <a:avLst/>
            </a:prstGeom>
            <a:solidFill>
              <a:srgbClr val="2626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D76BB6E7-08F1-F3C7-A749-42E7CF89696C}"/>
                </a:ext>
              </a:extLst>
            </p:cNvPr>
            <p:cNvSpPr/>
            <p:nvPr userDrawn="1"/>
          </p:nvSpPr>
          <p:spPr>
            <a:xfrm>
              <a:off x="641746" y="6570663"/>
              <a:ext cx="52716" cy="52716"/>
            </a:xfrm>
            <a:prstGeom prst="rect">
              <a:avLst/>
            </a:prstGeom>
            <a:solidFill>
              <a:srgbClr val="2626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F73C12ED-BB00-5A1A-7751-4D4C9015F6A5}"/>
                </a:ext>
              </a:extLst>
            </p:cNvPr>
            <p:cNvSpPr/>
            <p:nvPr userDrawn="1"/>
          </p:nvSpPr>
          <p:spPr>
            <a:xfrm>
              <a:off x="581025" y="6631471"/>
              <a:ext cx="52716" cy="52716"/>
            </a:xfrm>
            <a:prstGeom prst="rect">
              <a:avLst/>
            </a:prstGeom>
            <a:solidFill>
              <a:srgbClr val="2626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37D2C6AC-5D59-0DEC-9268-52F1AC5BD4D6}"/>
                </a:ext>
              </a:extLst>
            </p:cNvPr>
            <p:cNvSpPr/>
            <p:nvPr userDrawn="1"/>
          </p:nvSpPr>
          <p:spPr>
            <a:xfrm>
              <a:off x="641746" y="6631471"/>
              <a:ext cx="52716" cy="52716"/>
            </a:xfrm>
            <a:prstGeom prst="rect">
              <a:avLst/>
            </a:prstGeom>
            <a:solidFill>
              <a:srgbClr val="2626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itle 1">
            <a:extLst>
              <a:ext uri="{FF2B5EF4-FFF2-40B4-BE49-F238E27FC236}">
                <a16:creationId xmlns:a16="http://schemas.microsoft.com/office/drawing/2014/main" id="{5CB300F4-23D5-483B-FDA9-F0C4507D4728}"/>
              </a:ext>
            </a:extLst>
          </p:cNvPr>
          <p:cNvSpPr txBox="1">
            <a:spLocks/>
          </p:cNvSpPr>
          <p:nvPr userDrawn="1"/>
        </p:nvSpPr>
        <p:spPr>
          <a:xfrm>
            <a:off x="657225" y="6624654"/>
            <a:ext cx="1776413" cy="99996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Segoe Sans Display" pitchFamily="2" charset="0"/>
                <a:ea typeface="+mj-ea"/>
                <a:cs typeface="Segoe Sans Display" pitchFamily="2" charset="0"/>
              </a:rPr>
              <a:t>Microsoft High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16572083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04">
          <p15:clr>
            <a:srgbClr val="FBAE40"/>
          </p15:clr>
        </p15:guide>
        <p15:guide id="2" pos="3456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Light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white and blue background&#10;&#10;Description automatically generated">
            <a:extLst>
              <a:ext uri="{FF2B5EF4-FFF2-40B4-BE49-F238E27FC236}">
                <a16:creationId xmlns:a16="http://schemas.microsoft.com/office/drawing/2014/main" id="{6D7AE2B5-1A2D-6A7A-62F9-12F16604496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16"/>
          <a:stretch/>
        </p:blipFill>
        <p:spPr>
          <a:xfrm flipH="1">
            <a:off x="0" y="0"/>
            <a:ext cx="12192000" cy="6857999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F818133F-23B1-9DB9-FA4E-B63791561275}"/>
              </a:ext>
            </a:extLst>
          </p:cNvPr>
          <p:cNvGrpSpPr/>
          <p:nvPr userDrawn="1"/>
        </p:nvGrpSpPr>
        <p:grpSpPr>
          <a:xfrm>
            <a:off x="330026" y="6625887"/>
            <a:ext cx="93750" cy="93822"/>
            <a:chOff x="581025" y="6570663"/>
            <a:chExt cx="113437" cy="113524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4C3E695D-D1D5-E97F-3848-9B075220DD31}"/>
                </a:ext>
              </a:extLst>
            </p:cNvPr>
            <p:cNvSpPr/>
            <p:nvPr userDrawn="1"/>
          </p:nvSpPr>
          <p:spPr>
            <a:xfrm>
              <a:off x="581025" y="6570663"/>
              <a:ext cx="52716" cy="52716"/>
            </a:xfrm>
            <a:prstGeom prst="rect">
              <a:avLst/>
            </a:prstGeom>
            <a:solidFill>
              <a:srgbClr val="2626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D76BB6E7-08F1-F3C7-A749-42E7CF89696C}"/>
                </a:ext>
              </a:extLst>
            </p:cNvPr>
            <p:cNvSpPr/>
            <p:nvPr userDrawn="1"/>
          </p:nvSpPr>
          <p:spPr>
            <a:xfrm>
              <a:off x="641746" y="6570663"/>
              <a:ext cx="52716" cy="52716"/>
            </a:xfrm>
            <a:prstGeom prst="rect">
              <a:avLst/>
            </a:prstGeom>
            <a:solidFill>
              <a:srgbClr val="2626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F73C12ED-BB00-5A1A-7751-4D4C9015F6A5}"/>
                </a:ext>
              </a:extLst>
            </p:cNvPr>
            <p:cNvSpPr/>
            <p:nvPr userDrawn="1"/>
          </p:nvSpPr>
          <p:spPr>
            <a:xfrm>
              <a:off x="581025" y="6631471"/>
              <a:ext cx="52716" cy="52716"/>
            </a:xfrm>
            <a:prstGeom prst="rect">
              <a:avLst/>
            </a:prstGeom>
            <a:solidFill>
              <a:srgbClr val="2626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37D2C6AC-5D59-0DEC-9268-52F1AC5BD4D6}"/>
                </a:ext>
              </a:extLst>
            </p:cNvPr>
            <p:cNvSpPr/>
            <p:nvPr userDrawn="1"/>
          </p:nvSpPr>
          <p:spPr>
            <a:xfrm>
              <a:off x="641746" y="6631471"/>
              <a:ext cx="52716" cy="52716"/>
            </a:xfrm>
            <a:prstGeom prst="rect">
              <a:avLst/>
            </a:prstGeom>
            <a:solidFill>
              <a:srgbClr val="2626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itle 1">
            <a:extLst>
              <a:ext uri="{FF2B5EF4-FFF2-40B4-BE49-F238E27FC236}">
                <a16:creationId xmlns:a16="http://schemas.microsoft.com/office/drawing/2014/main" id="{5CB300F4-23D5-483B-FDA9-F0C4507D4728}"/>
              </a:ext>
            </a:extLst>
          </p:cNvPr>
          <p:cNvSpPr txBox="1">
            <a:spLocks/>
          </p:cNvSpPr>
          <p:nvPr userDrawn="1"/>
        </p:nvSpPr>
        <p:spPr>
          <a:xfrm>
            <a:off x="657225" y="6624654"/>
            <a:ext cx="1776413" cy="99996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Segoe Sans Display" pitchFamily="2" charset="0"/>
                <a:ea typeface="+mj-ea"/>
                <a:cs typeface="Segoe Sans Display" pitchFamily="2" charset="0"/>
              </a:rPr>
              <a:t>Microsoft High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11919868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04">
          <p15:clr>
            <a:srgbClr val="FBAE40"/>
          </p15:clr>
        </p15:guide>
        <p15:guide id="2" pos="3456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ct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blurry image of a person&#10;&#10;Description automatically generated">
            <a:extLst>
              <a:ext uri="{FF2B5EF4-FFF2-40B4-BE49-F238E27FC236}">
                <a16:creationId xmlns:a16="http://schemas.microsoft.com/office/drawing/2014/main" id="{3FD6613A-2DBD-36AD-57C9-799CC80EF9F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3" y="0"/>
            <a:ext cx="1219137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97221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725">
          <p15:clr>
            <a:srgbClr val="FBAE40"/>
          </p15:clr>
        </p15:guide>
        <p15:guide id="2" orient="horz" pos="1863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ark">
    <p:bg>
      <p:bgPr>
        <a:solidFill>
          <a:schemeClr val="tx1">
            <a:lumMod val="95000"/>
            <a:lumOff val="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B00123BB-8A4D-9A19-8271-8455B0775882}"/>
              </a:ext>
            </a:extLst>
          </p:cNvPr>
          <p:cNvGrpSpPr/>
          <p:nvPr userDrawn="1"/>
        </p:nvGrpSpPr>
        <p:grpSpPr>
          <a:xfrm>
            <a:off x="594360" y="6627741"/>
            <a:ext cx="93750" cy="93822"/>
            <a:chOff x="330026" y="6625887"/>
            <a:chExt cx="93750" cy="93822"/>
          </a:xfrm>
          <a:solidFill>
            <a:schemeClr val="bg1">
              <a:lumMod val="65000"/>
            </a:schemeClr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55FE8E8-FD47-AFEA-3132-812BC9F8D768}"/>
                </a:ext>
              </a:extLst>
            </p:cNvPr>
            <p:cNvSpPr/>
            <p:nvPr userDrawn="1"/>
          </p:nvSpPr>
          <p:spPr>
            <a:xfrm>
              <a:off x="330026" y="6625887"/>
              <a:ext cx="43567" cy="435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DAEA2BD5-B3B4-100D-FD1D-349CC2B4EAE9}"/>
                </a:ext>
              </a:extLst>
            </p:cNvPr>
            <p:cNvSpPr/>
            <p:nvPr userDrawn="1"/>
          </p:nvSpPr>
          <p:spPr>
            <a:xfrm>
              <a:off x="380209" y="6625887"/>
              <a:ext cx="43567" cy="435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DEF2B3E-6C91-EA48-6682-522B7A0C5AB3}"/>
                </a:ext>
              </a:extLst>
            </p:cNvPr>
            <p:cNvSpPr/>
            <p:nvPr userDrawn="1"/>
          </p:nvSpPr>
          <p:spPr>
            <a:xfrm>
              <a:off x="330026" y="6676142"/>
              <a:ext cx="43567" cy="435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9452379F-B230-E92F-75B8-B0F758EAA036}"/>
                </a:ext>
              </a:extLst>
            </p:cNvPr>
            <p:cNvSpPr/>
            <p:nvPr userDrawn="1"/>
          </p:nvSpPr>
          <p:spPr>
            <a:xfrm>
              <a:off x="380209" y="6676142"/>
              <a:ext cx="43567" cy="435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9" name="Title 1">
            <a:extLst>
              <a:ext uri="{FF2B5EF4-FFF2-40B4-BE49-F238E27FC236}">
                <a16:creationId xmlns:a16="http://schemas.microsoft.com/office/drawing/2014/main" id="{BADF8B88-BD91-8BC5-5A67-898537852118}"/>
              </a:ext>
            </a:extLst>
          </p:cNvPr>
          <p:cNvSpPr txBox="1">
            <a:spLocks/>
          </p:cNvSpPr>
          <p:nvPr userDrawn="1"/>
        </p:nvSpPr>
        <p:spPr>
          <a:xfrm>
            <a:off x="809625" y="6624654"/>
            <a:ext cx="1624013" cy="99996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Microsoft High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388038978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304">
          <p15:clr>
            <a:srgbClr val="FBAE40"/>
          </p15:clr>
        </p15:guide>
        <p15:guide id="2" pos="3456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Light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FE4DCF1A-29A4-2E3B-ED9B-3B325F865017}"/>
              </a:ext>
            </a:extLst>
          </p:cNvPr>
          <p:cNvGrpSpPr/>
          <p:nvPr userDrawn="1"/>
        </p:nvGrpSpPr>
        <p:grpSpPr>
          <a:xfrm>
            <a:off x="330026" y="6625887"/>
            <a:ext cx="93750" cy="93822"/>
            <a:chOff x="581025" y="6570663"/>
            <a:chExt cx="113437" cy="113524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9A9E4F80-6900-23A5-78B2-0B00C4EB9AA3}"/>
                </a:ext>
              </a:extLst>
            </p:cNvPr>
            <p:cNvSpPr/>
            <p:nvPr userDrawn="1"/>
          </p:nvSpPr>
          <p:spPr>
            <a:xfrm>
              <a:off x="581025" y="6570663"/>
              <a:ext cx="52716" cy="52716"/>
            </a:xfrm>
            <a:prstGeom prst="rect">
              <a:avLst/>
            </a:prstGeom>
            <a:solidFill>
              <a:srgbClr val="2626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82DC88A2-157A-DE0C-13D3-3EC59F7B8EDD}"/>
                </a:ext>
              </a:extLst>
            </p:cNvPr>
            <p:cNvSpPr/>
            <p:nvPr userDrawn="1"/>
          </p:nvSpPr>
          <p:spPr>
            <a:xfrm>
              <a:off x="641746" y="6570663"/>
              <a:ext cx="52716" cy="52716"/>
            </a:xfrm>
            <a:prstGeom prst="rect">
              <a:avLst/>
            </a:prstGeom>
            <a:solidFill>
              <a:srgbClr val="2626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752FDED7-66DA-E874-330A-21C8DD912996}"/>
                </a:ext>
              </a:extLst>
            </p:cNvPr>
            <p:cNvSpPr/>
            <p:nvPr userDrawn="1"/>
          </p:nvSpPr>
          <p:spPr>
            <a:xfrm>
              <a:off x="581025" y="6631471"/>
              <a:ext cx="52716" cy="52716"/>
            </a:xfrm>
            <a:prstGeom prst="rect">
              <a:avLst/>
            </a:prstGeom>
            <a:solidFill>
              <a:srgbClr val="2626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AA3C3B20-D0DE-DDA9-EC1B-84A39A731973}"/>
                </a:ext>
              </a:extLst>
            </p:cNvPr>
            <p:cNvSpPr/>
            <p:nvPr userDrawn="1"/>
          </p:nvSpPr>
          <p:spPr>
            <a:xfrm>
              <a:off x="641746" y="6631471"/>
              <a:ext cx="52716" cy="52716"/>
            </a:xfrm>
            <a:prstGeom prst="rect">
              <a:avLst/>
            </a:prstGeom>
            <a:solidFill>
              <a:srgbClr val="2626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9" name="Title 1">
            <a:extLst>
              <a:ext uri="{FF2B5EF4-FFF2-40B4-BE49-F238E27FC236}">
                <a16:creationId xmlns:a16="http://schemas.microsoft.com/office/drawing/2014/main" id="{469ED91E-11E4-48D5-BDD4-AC7093F4FC4F}"/>
              </a:ext>
            </a:extLst>
          </p:cNvPr>
          <p:cNvSpPr txBox="1">
            <a:spLocks/>
          </p:cNvSpPr>
          <p:nvPr userDrawn="1"/>
        </p:nvSpPr>
        <p:spPr>
          <a:xfrm>
            <a:off x="657225" y="6624654"/>
            <a:ext cx="1776413" cy="99996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Microsoft High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1464131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304">
          <p15:clr>
            <a:srgbClr val="FBAE40"/>
          </p15:clr>
        </p15:guide>
        <p15:guide id="2" pos="3456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ark">
    <p:bg>
      <p:bgPr>
        <a:solidFill>
          <a:schemeClr val="tx1">
            <a:lumMod val="95000"/>
            <a:lumOff val="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05FC7A2C-A6E3-4B9D-4488-A32C450A76AA}"/>
              </a:ext>
            </a:extLst>
          </p:cNvPr>
          <p:cNvGrpSpPr/>
          <p:nvPr userDrawn="1"/>
        </p:nvGrpSpPr>
        <p:grpSpPr>
          <a:xfrm>
            <a:off x="330026" y="6625887"/>
            <a:ext cx="93750" cy="93822"/>
            <a:chOff x="581025" y="6570663"/>
            <a:chExt cx="113437" cy="113524"/>
          </a:xfrm>
          <a:solidFill>
            <a:schemeClr val="bg1"/>
          </a:solidFill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9CE4530A-178E-D523-F0BC-CBACFFB3753C}"/>
                </a:ext>
              </a:extLst>
            </p:cNvPr>
            <p:cNvSpPr/>
            <p:nvPr userDrawn="1"/>
          </p:nvSpPr>
          <p:spPr>
            <a:xfrm>
              <a:off x="581025" y="6570663"/>
              <a:ext cx="52716" cy="5271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895CF682-737C-2F0F-BD88-063D5DAFDC06}"/>
                </a:ext>
              </a:extLst>
            </p:cNvPr>
            <p:cNvSpPr/>
            <p:nvPr userDrawn="1"/>
          </p:nvSpPr>
          <p:spPr>
            <a:xfrm>
              <a:off x="641746" y="6570663"/>
              <a:ext cx="52716" cy="5271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94ABD447-D840-E898-9177-3F5F8574E65D}"/>
                </a:ext>
              </a:extLst>
            </p:cNvPr>
            <p:cNvSpPr/>
            <p:nvPr userDrawn="1"/>
          </p:nvSpPr>
          <p:spPr>
            <a:xfrm>
              <a:off x="581025" y="6631471"/>
              <a:ext cx="52716" cy="5271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17BF18CF-9755-3FF4-A286-3943670164FB}"/>
                </a:ext>
              </a:extLst>
            </p:cNvPr>
            <p:cNvSpPr/>
            <p:nvPr userDrawn="1"/>
          </p:nvSpPr>
          <p:spPr>
            <a:xfrm>
              <a:off x="641746" y="6631471"/>
              <a:ext cx="52716" cy="5271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" name="Title 1">
            <a:extLst>
              <a:ext uri="{FF2B5EF4-FFF2-40B4-BE49-F238E27FC236}">
                <a16:creationId xmlns:a16="http://schemas.microsoft.com/office/drawing/2014/main" id="{A6064560-E19F-591D-1C2B-993E99511D6C}"/>
              </a:ext>
            </a:extLst>
          </p:cNvPr>
          <p:cNvSpPr txBox="1">
            <a:spLocks/>
          </p:cNvSpPr>
          <p:nvPr userDrawn="1"/>
        </p:nvSpPr>
        <p:spPr>
          <a:xfrm>
            <a:off x="657225" y="6624654"/>
            <a:ext cx="2862263" cy="99996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Sans Display" pitchFamily="2" charset="0"/>
                <a:ea typeface="+mj-ea"/>
                <a:cs typeface="Segoe Sans Display" pitchFamily="2" charset="0"/>
              </a:rPr>
              <a:t>Microsoft Highly Confidential  /  Information subject to change</a:t>
            </a:r>
          </a:p>
        </p:txBody>
      </p:sp>
    </p:spTree>
    <p:extLst>
      <p:ext uri="{BB962C8B-B14F-4D97-AF65-F5344CB8AC3E}">
        <p14:creationId xmlns:p14="http://schemas.microsoft.com/office/powerpoint/2010/main" val="252104853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304">
          <p15:clr>
            <a:srgbClr val="FBAE40"/>
          </p15:clr>
        </p15:guide>
        <p15:guide id="2" pos="3456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ght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F818133F-23B1-9DB9-FA4E-B63791561275}"/>
              </a:ext>
            </a:extLst>
          </p:cNvPr>
          <p:cNvGrpSpPr/>
          <p:nvPr userDrawn="1"/>
        </p:nvGrpSpPr>
        <p:grpSpPr>
          <a:xfrm>
            <a:off x="330026" y="6625887"/>
            <a:ext cx="93750" cy="93822"/>
            <a:chOff x="581025" y="6570663"/>
            <a:chExt cx="113437" cy="113524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4C3E695D-D1D5-E97F-3848-9B075220DD31}"/>
                </a:ext>
              </a:extLst>
            </p:cNvPr>
            <p:cNvSpPr/>
            <p:nvPr userDrawn="1"/>
          </p:nvSpPr>
          <p:spPr>
            <a:xfrm>
              <a:off x="581025" y="6570663"/>
              <a:ext cx="52716" cy="52716"/>
            </a:xfrm>
            <a:prstGeom prst="rect">
              <a:avLst/>
            </a:prstGeom>
            <a:solidFill>
              <a:srgbClr val="2626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D76BB6E7-08F1-F3C7-A749-42E7CF89696C}"/>
                </a:ext>
              </a:extLst>
            </p:cNvPr>
            <p:cNvSpPr/>
            <p:nvPr userDrawn="1"/>
          </p:nvSpPr>
          <p:spPr>
            <a:xfrm>
              <a:off x="641746" y="6570663"/>
              <a:ext cx="52716" cy="52716"/>
            </a:xfrm>
            <a:prstGeom prst="rect">
              <a:avLst/>
            </a:prstGeom>
            <a:solidFill>
              <a:srgbClr val="2626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F73C12ED-BB00-5A1A-7751-4D4C9015F6A5}"/>
                </a:ext>
              </a:extLst>
            </p:cNvPr>
            <p:cNvSpPr/>
            <p:nvPr userDrawn="1"/>
          </p:nvSpPr>
          <p:spPr>
            <a:xfrm>
              <a:off x="581025" y="6631471"/>
              <a:ext cx="52716" cy="52716"/>
            </a:xfrm>
            <a:prstGeom prst="rect">
              <a:avLst/>
            </a:prstGeom>
            <a:solidFill>
              <a:srgbClr val="2626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37D2C6AC-5D59-0DEC-9268-52F1AC5BD4D6}"/>
                </a:ext>
              </a:extLst>
            </p:cNvPr>
            <p:cNvSpPr/>
            <p:nvPr userDrawn="1"/>
          </p:nvSpPr>
          <p:spPr>
            <a:xfrm>
              <a:off x="641746" y="6631471"/>
              <a:ext cx="52716" cy="52716"/>
            </a:xfrm>
            <a:prstGeom prst="rect">
              <a:avLst/>
            </a:prstGeom>
            <a:solidFill>
              <a:srgbClr val="2626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9E0EF884-63A7-E04F-851A-C5C5B7A7DCC7}"/>
              </a:ext>
            </a:extLst>
          </p:cNvPr>
          <p:cNvSpPr txBox="1">
            <a:spLocks/>
          </p:cNvSpPr>
          <p:nvPr userDrawn="1"/>
        </p:nvSpPr>
        <p:spPr>
          <a:xfrm>
            <a:off x="657225" y="6624654"/>
            <a:ext cx="2862263" cy="99996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Segoe Sans Display" pitchFamily="2" charset="0"/>
                <a:ea typeface="+mj-ea"/>
                <a:cs typeface="Segoe Sans Display" pitchFamily="2" charset="0"/>
              </a:rPr>
              <a:t>Microsoft Highly Confidential  /  Information subject to change</a:t>
            </a:r>
          </a:p>
        </p:txBody>
      </p:sp>
    </p:spTree>
    <p:extLst>
      <p:ext uri="{BB962C8B-B14F-4D97-AF65-F5344CB8AC3E}">
        <p14:creationId xmlns:p14="http://schemas.microsoft.com/office/powerpoint/2010/main" val="22212339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04">
          <p15:clr>
            <a:srgbClr val="FBAE40"/>
          </p15:clr>
        </p15:guide>
        <p15:guide id="2" pos="3456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1F62BB-BAFA-8517-B128-935EF5024E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38DD4A5-DAE4-3B0E-165D-108D777A669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8C5C65C-0147-9868-68E4-029FB81D40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1CAABC-D95E-4838-8CE2-FC16B5FC7DC6}" type="datetimeFigureOut">
              <a:rPr lang="en-US" smtClean="0"/>
              <a:t>4/1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191E65D-1F82-288F-C92A-6E0554714B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67701E-F8DF-9374-5301-8CC2728A19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7F255F-3C42-4CFA-923C-99DFF8B163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284960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Light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7ECD1D6D-E8F0-9AF0-7B48-3571391A0E6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F818133F-23B1-9DB9-FA4E-B63791561275}"/>
              </a:ext>
            </a:extLst>
          </p:cNvPr>
          <p:cNvGrpSpPr/>
          <p:nvPr userDrawn="1"/>
        </p:nvGrpSpPr>
        <p:grpSpPr>
          <a:xfrm>
            <a:off x="330026" y="6625887"/>
            <a:ext cx="93750" cy="93822"/>
            <a:chOff x="581025" y="6570663"/>
            <a:chExt cx="113437" cy="113524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4C3E695D-D1D5-E97F-3848-9B075220DD31}"/>
                </a:ext>
              </a:extLst>
            </p:cNvPr>
            <p:cNvSpPr/>
            <p:nvPr userDrawn="1"/>
          </p:nvSpPr>
          <p:spPr>
            <a:xfrm>
              <a:off x="581025" y="6570663"/>
              <a:ext cx="52716" cy="52716"/>
            </a:xfrm>
            <a:prstGeom prst="rect">
              <a:avLst/>
            </a:prstGeom>
            <a:solidFill>
              <a:srgbClr val="2626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D76BB6E7-08F1-F3C7-A749-42E7CF89696C}"/>
                </a:ext>
              </a:extLst>
            </p:cNvPr>
            <p:cNvSpPr/>
            <p:nvPr userDrawn="1"/>
          </p:nvSpPr>
          <p:spPr>
            <a:xfrm>
              <a:off x="641746" y="6570663"/>
              <a:ext cx="52716" cy="52716"/>
            </a:xfrm>
            <a:prstGeom prst="rect">
              <a:avLst/>
            </a:prstGeom>
            <a:solidFill>
              <a:srgbClr val="2626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F73C12ED-BB00-5A1A-7751-4D4C9015F6A5}"/>
                </a:ext>
              </a:extLst>
            </p:cNvPr>
            <p:cNvSpPr/>
            <p:nvPr userDrawn="1"/>
          </p:nvSpPr>
          <p:spPr>
            <a:xfrm>
              <a:off x="581025" y="6631471"/>
              <a:ext cx="52716" cy="52716"/>
            </a:xfrm>
            <a:prstGeom prst="rect">
              <a:avLst/>
            </a:prstGeom>
            <a:solidFill>
              <a:srgbClr val="2626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37D2C6AC-5D59-0DEC-9268-52F1AC5BD4D6}"/>
                </a:ext>
              </a:extLst>
            </p:cNvPr>
            <p:cNvSpPr/>
            <p:nvPr userDrawn="1"/>
          </p:nvSpPr>
          <p:spPr>
            <a:xfrm>
              <a:off x="641746" y="6631471"/>
              <a:ext cx="52716" cy="52716"/>
            </a:xfrm>
            <a:prstGeom prst="rect">
              <a:avLst/>
            </a:prstGeom>
            <a:solidFill>
              <a:srgbClr val="2626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itle 1">
            <a:extLst>
              <a:ext uri="{FF2B5EF4-FFF2-40B4-BE49-F238E27FC236}">
                <a16:creationId xmlns:a16="http://schemas.microsoft.com/office/drawing/2014/main" id="{5CB300F4-23D5-483B-FDA9-F0C4507D4728}"/>
              </a:ext>
            </a:extLst>
          </p:cNvPr>
          <p:cNvSpPr txBox="1">
            <a:spLocks/>
          </p:cNvSpPr>
          <p:nvPr userDrawn="1"/>
        </p:nvSpPr>
        <p:spPr>
          <a:xfrm>
            <a:off x="657225" y="6624654"/>
            <a:ext cx="2862263" cy="99996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Segoe Sans Display" pitchFamily="2" charset="0"/>
                <a:ea typeface="+mj-ea"/>
                <a:cs typeface="Segoe Sans Display" pitchFamily="2" charset="0"/>
              </a:rPr>
              <a:t>Microsoft Highly Confidential  /  Information subject to change</a:t>
            </a:r>
          </a:p>
        </p:txBody>
      </p:sp>
    </p:spTree>
    <p:extLst>
      <p:ext uri="{BB962C8B-B14F-4D97-AF65-F5344CB8AC3E}">
        <p14:creationId xmlns:p14="http://schemas.microsoft.com/office/powerpoint/2010/main" val="42000158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04">
          <p15:clr>
            <a:srgbClr val="FBAE40"/>
          </p15:clr>
        </p15:guide>
        <p15:guide id="2" pos="3456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Dark">
    <p:bg>
      <p:bgPr>
        <a:solidFill>
          <a:schemeClr val="tx1">
            <a:lumMod val="95000"/>
            <a:lumOff val="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B00123BB-8A4D-9A19-8271-8455B0775882}"/>
              </a:ext>
            </a:extLst>
          </p:cNvPr>
          <p:cNvGrpSpPr/>
          <p:nvPr userDrawn="1"/>
        </p:nvGrpSpPr>
        <p:grpSpPr>
          <a:xfrm>
            <a:off x="594360" y="6627741"/>
            <a:ext cx="93750" cy="93822"/>
            <a:chOff x="330026" y="6625887"/>
            <a:chExt cx="93750" cy="93822"/>
          </a:xfrm>
          <a:solidFill>
            <a:schemeClr val="bg1">
              <a:lumMod val="65000"/>
            </a:schemeClr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55FE8E8-FD47-AFEA-3132-812BC9F8D768}"/>
                </a:ext>
              </a:extLst>
            </p:cNvPr>
            <p:cNvSpPr/>
            <p:nvPr userDrawn="1"/>
          </p:nvSpPr>
          <p:spPr>
            <a:xfrm>
              <a:off x="330026" y="6625887"/>
              <a:ext cx="43567" cy="435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DAEA2BD5-B3B4-100D-FD1D-349CC2B4EAE9}"/>
                </a:ext>
              </a:extLst>
            </p:cNvPr>
            <p:cNvSpPr/>
            <p:nvPr userDrawn="1"/>
          </p:nvSpPr>
          <p:spPr>
            <a:xfrm>
              <a:off x="380209" y="6625887"/>
              <a:ext cx="43567" cy="435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DEF2B3E-6C91-EA48-6682-522B7A0C5AB3}"/>
                </a:ext>
              </a:extLst>
            </p:cNvPr>
            <p:cNvSpPr/>
            <p:nvPr userDrawn="1"/>
          </p:nvSpPr>
          <p:spPr>
            <a:xfrm>
              <a:off x="330026" y="6676142"/>
              <a:ext cx="43567" cy="435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9452379F-B230-E92F-75B8-B0F758EAA036}"/>
                </a:ext>
              </a:extLst>
            </p:cNvPr>
            <p:cNvSpPr/>
            <p:nvPr userDrawn="1"/>
          </p:nvSpPr>
          <p:spPr>
            <a:xfrm>
              <a:off x="380209" y="6676142"/>
              <a:ext cx="43567" cy="435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47819951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304">
          <p15:clr>
            <a:srgbClr val="FBAE40"/>
          </p15:clr>
        </p15:guide>
        <p15:guide id="2" pos="345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Light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FE4DCF1A-29A4-2E3B-ED9B-3B325F865017}"/>
              </a:ext>
            </a:extLst>
          </p:cNvPr>
          <p:cNvGrpSpPr/>
          <p:nvPr userDrawn="1"/>
        </p:nvGrpSpPr>
        <p:grpSpPr>
          <a:xfrm>
            <a:off x="330026" y="6625887"/>
            <a:ext cx="93750" cy="93822"/>
            <a:chOff x="581025" y="6570663"/>
            <a:chExt cx="113437" cy="113524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9A9E4F80-6900-23A5-78B2-0B00C4EB9AA3}"/>
                </a:ext>
              </a:extLst>
            </p:cNvPr>
            <p:cNvSpPr/>
            <p:nvPr userDrawn="1"/>
          </p:nvSpPr>
          <p:spPr>
            <a:xfrm>
              <a:off x="581025" y="6570663"/>
              <a:ext cx="52716" cy="52716"/>
            </a:xfrm>
            <a:prstGeom prst="rect">
              <a:avLst/>
            </a:prstGeom>
            <a:solidFill>
              <a:srgbClr val="2626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82DC88A2-157A-DE0C-13D3-3EC59F7B8EDD}"/>
                </a:ext>
              </a:extLst>
            </p:cNvPr>
            <p:cNvSpPr/>
            <p:nvPr userDrawn="1"/>
          </p:nvSpPr>
          <p:spPr>
            <a:xfrm>
              <a:off x="641746" y="6570663"/>
              <a:ext cx="52716" cy="52716"/>
            </a:xfrm>
            <a:prstGeom prst="rect">
              <a:avLst/>
            </a:prstGeom>
            <a:solidFill>
              <a:srgbClr val="2626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752FDED7-66DA-E874-330A-21C8DD912996}"/>
                </a:ext>
              </a:extLst>
            </p:cNvPr>
            <p:cNvSpPr/>
            <p:nvPr userDrawn="1"/>
          </p:nvSpPr>
          <p:spPr>
            <a:xfrm>
              <a:off x="581025" y="6631471"/>
              <a:ext cx="52716" cy="52716"/>
            </a:xfrm>
            <a:prstGeom prst="rect">
              <a:avLst/>
            </a:prstGeom>
            <a:solidFill>
              <a:srgbClr val="2626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AA3C3B20-D0DE-DDA9-EC1B-84A39A731973}"/>
                </a:ext>
              </a:extLst>
            </p:cNvPr>
            <p:cNvSpPr/>
            <p:nvPr userDrawn="1"/>
          </p:nvSpPr>
          <p:spPr>
            <a:xfrm>
              <a:off x="641746" y="6631471"/>
              <a:ext cx="52716" cy="52716"/>
            </a:xfrm>
            <a:prstGeom prst="rect">
              <a:avLst/>
            </a:prstGeom>
            <a:solidFill>
              <a:srgbClr val="2626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" name="Title 1">
            <a:extLst>
              <a:ext uri="{FF2B5EF4-FFF2-40B4-BE49-F238E27FC236}">
                <a16:creationId xmlns:a16="http://schemas.microsoft.com/office/drawing/2014/main" id="{1EF0A368-CD7B-1CEF-6284-EA7302292010}"/>
              </a:ext>
            </a:extLst>
          </p:cNvPr>
          <p:cNvSpPr txBox="1">
            <a:spLocks/>
          </p:cNvSpPr>
          <p:nvPr userDrawn="1"/>
        </p:nvSpPr>
        <p:spPr>
          <a:xfrm>
            <a:off x="657225" y="6624654"/>
            <a:ext cx="2862263" cy="99996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Segoe Sans Display" pitchFamily="2" charset="0"/>
                <a:ea typeface="+mj-ea"/>
                <a:cs typeface="Segoe Sans Display" pitchFamily="2" charset="0"/>
              </a:rPr>
              <a:t>Microsoft Highly Confidential  /  Information subject to change</a:t>
            </a:r>
          </a:p>
        </p:txBody>
      </p:sp>
    </p:spTree>
    <p:extLst>
      <p:ext uri="{BB962C8B-B14F-4D97-AF65-F5344CB8AC3E}">
        <p14:creationId xmlns:p14="http://schemas.microsoft.com/office/powerpoint/2010/main" val="3905324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304">
          <p15:clr>
            <a:srgbClr val="FBAE40"/>
          </p15:clr>
        </p15:guide>
        <p15:guide id="2" pos="345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with Hea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E35D3C-86EE-875E-D2A6-669DF7E1C1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2" y="585216"/>
            <a:ext cx="8193024" cy="307777"/>
          </a:xfrm>
        </p:spPr>
        <p:txBody>
          <a:bodyPr/>
          <a:lstStyle>
            <a:lvl1pPr>
              <a:defRPr sz="2000" b="0" i="0">
                <a:solidFill>
                  <a:schemeClr val="accent5">
                    <a:lumMod val="60000"/>
                    <a:lumOff val="40000"/>
                  </a:schemeClr>
                </a:solidFill>
                <a:latin typeface="+mj-lt"/>
                <a:cs typeface="Segoe UI Semibold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9776600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4" pos="778">
          <p15:clr>
            <a:srgbClr val="954F72"/>
          </p15:clr>
        </p15:guide>
        <p15:guide id="5" pos="962">
          <p15:clr>
            <a:srgbClr val="954F72"/>
          </p15:clr>
        </p15:guide>
        <p15:guide id="6" pos="1372">
          <p15:clr>
            <a:srgbClr val="954F72"/>
          </p15:clr>
        </p15:guide>
        <p15:guide id="7" pos="1556">
          <p15:clr>
            <a:srgbClr val="954F72"/>
          </p15:clr>
        </p15:guide>
        <p15:guide id="8" pos="1966">
          <p15:clr>
            <a:srgbClr val="954F72"/>
          </p15:clr>
        </p15:guide>
        <p15:guide id="9" pos="2150">
          <p15:clr>
            <a:srgbClr val="954F72"/>
          </p15:clr>
        </p15:guide>
        <p15:guide id="10" pos="2560">
          <p15:clr>
            <a:srgbClr val="954F72"/>
          </p15:clr>
        </p15:guide>
        <p15:guide id="11" pos="2744">
          <p15:clr>
            <a:srgbClr val="954F72"/>
          </p15:clr>
        </p15:guide>
        <p15:guide id="12" pos="3153">
          <p15:clr>
            <a:srgbClr val="954F72"/>
          </p15:clr>
        </p15:guide>
        <p15:guide id="13" pos="3338">
          <p15:clr>
            <a:srgbClr val="954F72"/>
          </p15:clr>
        </p15:guide>
        <p15:guide id="14" pos="3747">
          <p15:clr>
            <a:srgbClr val="954F72"/>
          </p15:clr>
        </p15:guide>
        <p15:guide id="15" pos="3932">
          <p15:clr>
            <a:srgbClr val="954F72"/>
          </p15:clr>
        </p15:guide>
        <p15:guide id="16" pos="4341">
          <p15:clr>
            <a:srgbClr val="954F72"/>
          </p15:clr>
        </p15:guide>
        <p15:guide id="17" pos="4526">
          <p15:clr>
            <a:srgbClr val="954F72"/>
          </p15:clr>
        </p15:guide>
        <p15:guide id="18" pos="4935">
          <p15:clr>
            <a:srgbClr val="954F72"/>
          </p15:clr>
        </p15:guide>
        <p15:guide id="19" pos="5120">
          <p15:clr>
            <a:srgbClr val="954F72"/>
          </p15:clr>
        </p15:guide>
        <p15:guide id="20" pos="5529">
          <p15:clr>
            <a:srgbClr val="954F72"/>
          </p15:clr>
        </p15:guide>
        <p15:guide id="21" pos="5713">
          <p15:clr>
            <a:srgbClr val="954F72"/>
          </p15:clr>
        </p15:guide>
        <p15:guide id="22" pos="6123">
          <p15:clr>
            <a:srgbClr val="954F72"/>
          </p15:clr>
        </p15:guide>
        <p15:guide id="23" pos="6307">
          <p15:clr>
            <a:srgbClr val="954F72"/>
          </p15:clr>
        </p15:guide>
        <p15:guide id="24" pos="6717">
          <p15:clr>
            <a:srgbClr val="954F72"/>
          </p15:clr>
        </p15:guide>
        <p15:guide id="25" pos="6901">
          <p15:clr>
            <a:srgbClr val="954F72"/>
          </p15:clr>
        </p15:guide>
        <p15:guide id="30" orient="horz" pos="812">
          <p15:clr>
            <a:srgbClr val="954F72"/>
          </p15:clr>
        </p15:guide>
        <p15:guide id="31" orient="horz" pos="996">
          <p15:clr>
            <a:srgbClr val="954F72"/>
          </p15:clr>
        </p15:guide>
        <p15:guide id="32" orient="horz" pos="1440">
          <p15:clr>
            <a:srgbClr val="954F72"/>
          </p15:clr>
        </p15:guide>
        <p15:guide id="33" orient="horz" pos="1624">
          <p15:clr>
            <a:srgbClr val="954F72"/>
          </p15:clr>
        </p15:guide>
        <p15:guide id="34" orient="horz" pos="2067">
          <p15:clr>
            <a:srgbClr val="954F72"/>
          </p15:clr>
        </p15:guide>
        <p15:guide id="35" orient="horz" pos="2252">
          <p15:clr>
            <a:srgbClr val="954F72"/>
          </p15:clr>
        </p15:guide>
        <p15:guide id="36" orient="horz" pos="2695">
          <p15:clr>
            <a:srgbClr val="954F72"/>
          </p15:clr>
        </p15:guide>
        <p15:guide id="37" orient="horz" pos="2880">
          <p15:clr>
            <a:srgbClr val="954F72"/>
          </p15:clr>
        </p15:guide>
        <p15:guide id="38" orient="horz" pos="3323">
          <p15:clr>
            <a:srgbClr val="954F72"/>
          </p15:clr>
        </p15:guide>
        <p15:guide id="39" orient="horz" pos="3507">
          <p15:clr>
            <a:srgbClr val="954F72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Light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FE4DCF1A-29A4-2E3B-ED9B-3B325F865017}"/>
              </a:ext>
            </a:extLst>
          </p:cNvPr>
          <p:cNvGrpSpPr/>
          <p:nvPr userDrawn="1"/>
        </p:nvGrpSpPr>
        <p:grpSpPr>
          <a:xfrm>
            <a:off x="330026" y="6625887"/>
            <a:ext cx="93750" cy="93822"/>
            <a:chOff x="581025" y="6570663"/>
            <a:chExt cx="113437" cy="113524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9A9E4F80-6900-23A5-78B2-0B00C4EB9AA3}"/>
                </a:ext>
              </a:extLst>
            </p:cNvPr>
            <p:cNvSpPr/>
            <p:nvPr userDrawn="1"/>
          </p:nvSpPr>
          <p:spPr>
            <a:xfrm>
              <a:off x="581025" y="6570663"/>
              <a:ext cx="52716" cy="52716"/>
            </a:xfrm>
            <a:prstGeom prst="rect">
              <a:avLst/>
            </a:prstGeom>
            <a:solidFill>
              <a:srgbClr val="2626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82DC88A2-157A-DE0C-13D3-3EC59F7B8EDD}"/>
                </a:ext>
              </a:extLst>
            </p:cNvPr>
            <p:cNvSpPr/>
            <p:nvPr userDrawn="1"/>
          </p:nvSpPr>
          <p:spPr>
            <a:xfrm>
              <a:off x="641746" y="6570663"/>
              <a:ext cx="52716" cy="52716"/>
            </a:xfrm>
            <a:prstGeom prst="rect">
              <a:avLst/>
            </a:prstGeom>
            <a:solidFill>
              <a:srgbClr val="2626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752FDED7-66DA-E874-330A-21C8DD912996}"/>
                </a:ext>
              </a:extLst>
            </p:cNvPr>
            <p:cNvSpPr/>
            <p:nvPr userDrawn="1"/>
          </p:nvSpPr>
          <p:spPr>
            <a:xfrm>
              <a:off x="581025" y="6631471"/>
              <a:ext cx="52716" cy="52716"/>
            </a:xfrm>
            <a:prstGeom prst="rect">
              <a:avLst/>
            </a:prstGeom>
            <a:solidFill>
              <a:srgbClr val="2626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AA3C3B20-D0DE-DDA9-EC1B-84A39A731973}"/>
                </a:ext>
              </a:extLst>
            </p:cNvPr>
            <p:cNvSpPr/>
            <p:nvPr userDrawn="1"/>
          </p:nvSpPr>
          <p:spPr>
            <a:xfrm>
              <a:off x="641746" y="6631471"/>
              <a:ext cx="52716" cy="52716"/>
            </a:xfrm>
            <a:prstGeom prst="rect">
              <a:avLst/>
            </a:prstGeom>
            <a:solidFill>
              <a:srgbClr val="2626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9" name="Title 1">
            <a:extLst>
              <a:ext uri="{FF2B5EF4-FFF2-40B4-BE49-F238E27FC236}">
                <a16:creationId xmlns:a16="http://schemas.microsoft.com/office/drawing/2014/main" id="{469ED91E-11E4-48D5-BDD4-AC7093F4FC4F}"/>
              </a:ext>
            </a:extLst>
          </p:cNvPr>
          <p:cNvSpPr txBox="1">
            <a:spLocks/>
          </p:cNvSpPr>
          <p:nvPr userDrawn="1"/>
        </p:nvSpPr>
        <p:spPr>
          <a:xfrm>
            <a:off x="657225" y="6624654"/>
            <a:ext cx="1776413" cy="99996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Segoe UI Variable Text" pitchFamily="2" charset="0"/>
                <a:ea typeface="+mj-ea"/>
                <a:cs typeface="Segoe Sans Display" pitchFamily="2" charset="0"/>
              </a:rPr>
              <a:t>Microsoft High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11010166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04">
          <p15:clr>
            <a:srgbClr val="FBAE40"/>
          </p15:clr>
        </p15:guide>
        <p15:guide id="2" pos="3456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Light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FE4DCF1A-29A4-2E3B-ED9B-3B325F865017}"/>
              </a:ext>
            </a:extLst>
          </p:cNvPr>
          <p:cNvGrpSpPr/>
          <p:nvPr userDrawn="1"/>
        </p:nvGrpSpPr>
        <p:grpSpPr>
          <a:xfrm>
            <a:off x="330026" y="6625887"/>
            <a:ext cx="93750" cy="93822"/>
            <a:chOff x="581025" y="6570663"/>
            <a:chExt cx="113437" cy="113524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9A9E4F80-6900-23A5-78B2-0B00C4EB9AA3}"/>
                </a:ext>
              </a:extLst>
            </p:cNvPr>
            <p:cNvSpPr/>
            <p:nvPr userDrawn="1"/>
          </p:nvSpPr>
          <p:spPr>
            <a:xfrm>
              <a:off x="581025" y="6570663"/>
              <a:ext cx="52716" cy="52716"/>
            </a:xfrm>
            <a:prstGeom prst="rect">
              <a:avLst/>
            </a:prstGeom>
            <a:solidFill>
              <a:srgbClr val="2626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82DC88A2-157A-DE0C-13D3-3EC59F7B8EDD}"/>
                </a:ext>
              </a:extLst>
            </p:cNvPr>
            <p:cNvSpPr/>
            <p:nvPr userDrawn="1"/>
          </p:nvSpPr>
          <p:spPr>
            <a:xfrm>
              <a:off x="641746" y="6570663"/>
              <a:ext cx="52716" cy="52716"/>
            </a:xfrm>
            <a:prstGeom prst="rect">
              <a:avLst/>
            </a:prstGeom>
            <a:solidFill>
              <a:srgbClr val="2626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752FDED7-66DA-E874-330A-21C8DD912996}"/>
                </a:ext>
              </a:extLst>
            </p:cNvPr>
            <p:cNvSpPr/>
            <p:nvPr userDrawn="1"/>
          </p:nvSpPr>
          <p:spPr>
            <a:xfrm>
              <a:off x="581025" y="6631471"/>
              <a:ext cx="52716" cy="52716"/>
            </a:xfrm>
            <a:prstGeom prst="rect">
              <a:avLst/>
            </a:prstGeom>
            <a:solidFill>
              <a:srgbClr val="2626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AA3C3B20-D0DE-DDA9-EC1B-84A39A731973}"/>
                </a:ext>
              </a:extLst>
            </p:cNvPr>
            <p:cNvSpPr/>
            <p:nvPr userDrawn="1"/>
          </p:nvSpPr>
          <p:spPr>
            <a:xfrm>
              <a:off x="641746" y="6631471"/>
              <a:ext cx="52716" cy="52716"/>
            </a:xfrm>
            <a:prstGeom prst="rect">
              <a:avLst/>
            </a:prstGeom>
            <a:solidFill>
              <a:srgbClr val="2626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" name="Title 1">
            <a:extLst>
              <a:ext uri="{FF2B5EF4-FFF2-40B4-BE49-F238E27FC236}">
                <a16:creationId xmlns:a16="http://schemas.microsoft.com/office/drawing/2014/main" id="{1C42BF57-1B15-E0C2-3346-3656C2F6C16D}"/>
              </a:ext>
            </a:extLst>
          </p:cNvPr>
          <p:cNvSpPr txBox="1">
            <a:spLocks/>
          </p:cNvSpPr>
          <p:nvPr userDrawn="1"/>
        </p:nvSpPr>
        <p:spPr>
          <a:xfrm>
            <a:off x="657225" y="6624654"/>
            <a:ext cx="2862263" cy="99996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Segoe Sans Display" pitchFamily="2" charset="0"/>
                <a:ea typeface="+mj-ea"/>
                <a:cs typeface="Segoe Sans Display" pitchFamily="2" charset="0"/>
              </a:rPr>
              <a:t>Microsoft Highly Confidential  /  Information subject to change</a:t>
            </a:r>
          </a:p>
        </p:txBody>
      </p:sp>
    </p:spTree>
    <p:extLst>
      <p:ext uri="{BB962C8B-B14F-4D97-AF65-F5344CB8AC3E}">
        <p14:creationId xmlns:p14="http://schemas.microsoft.com/office/powerpoint/2010/main" val="2174711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304">
          <p15:clr>
            <a:srgbClr val="FBAE40"/>
          </p15:clr>
        </p15:guide>
        <p15:guide id="2" pos="3456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Dark">
    <p:bg>
      <p:bgPr>
        <a:solidFill>
          <a:schemeClr val="tx1">
            <a:lumMod val="95000"/>
            <a:lumOff val="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99C5B8E3-D812-8C13-6510-ED60E99D5FAF}"/>
              </a:ext>
            </a:extLst>
          </p:cNvPr>
          <p:cNvGrpSpPr/>
          <p:nvPr userDrawn="1"/>
        </p:nvGrpSpPr>
        <p:grpSpPr>
          <a:xfrm>
            <a:off x="594360" y="6627741"/>
            <a:ext cx="93750" cy="93822"/>
            <a:chOff x="330026" y="6625887"/>
            <a:chExt cx="93750" cy="93822"/>
          </a:xfrm>
          <a:solidFill>
            <a:schemeClr val="bg1"/>
          </a:solidFill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A9DB848C-00C4-187C-5A08-B11A5C19DA93}"/>
                </a:ext>
              </a:extLst>
            </p:cNvPr>
            <p:cNvSpPr/>
            <p:nvPr userDrawn="1"/>
          </p:nvSpPr>
          <p:spPr>
            <a:xfrm>
              <a:off x="330026" y="6625887"/>
              <a:ext cx="43567" cy="435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559D30EF-F69F-7653-5420-A392A0A2270A}"/>
                </a:ext>
              </a:extLst>
            </p:cNvPr>
            <p:cNvSpPr/>
            <p:nvPr userDrawn="1"/>
          </p:nvSpPr>
          <p:spPr>
            <a:xfrm>
              <a:off x="380209" y="6625887"/>
              <a:ext cx="43567" cy="435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2456E453-91DC-9926-E7C1-8D838A0BDFC8}"/>
                </a:ext>
              </a:extLst>
            </p:cNvPr>
            <p:cNvSpPr/>
            <p:nvPr userDrawn="1"/>
          </p:nvSpPr>
          <p:spPr>
            <a:xfrm>
              <a:off x="330026" y="6676142"/>
              <a:ext cx="43567" cy="435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DA95D22-3F2B-ED46-9A6F-89E2F92ED8A7}"/>
                </a:ext>
              </a:extLst>
            </p:cNvPr>
            <p:cNvSpPr/>
            <p:nvPr userDrawn="1"/>
          </p:nvSpPr>
          <p:spPr>
            <a:xfrm>
              <a:off x="380209" y="6676142"/>
              <a:ext cx="43567" cy="435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10" name="Title 1">
            <a:extLst>
              <a:ext uri="{FF2B5EF4-FFF2-40B4-BE49-F238E27FC236}">
                <a16:creationId xmlns:a16="http://schemas.microsoft.com/office/drawing/2014/main" id="{20DB4EE5-87D6-9300-C269-CD8D3E3D799D}"/>
              </a:ext>
            </a:extLst>
          </p:cNvPr>
          <p:cNvSpPr txBox="1">
            <a:spLocks/>
          </p:cNvSpPr>
          <p:nvPr userDrawn="1"/>
        </p:nvSpPr>
        <p:spPr>
          <a:xfrm>
            <a:off x="809625" y="6624654"/>
            <a:ext cx="1624013" cy="99996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Microsoft High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120922456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304">
          <p15:clr>
            <a:srgbClr val="FBAE40"/>
          </p15:clr>
        </p15:guide>
        <p15:guide id="2" pos="3456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95EDF71-8B1A-4853-B665-11AE65F3F4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Microsoft Confidential</a:t>
            </a:r>
          </a:p>
        </p:txBody>
      </p:sp>
    </p:spTree>
    <p:extLst>
      <p:ext uri="{BB962C8B-B14F-4D97-AF65-F5344CB8AC3E}">
        <p14:creationId xmlns:p14="http://schemas.microsoft.com/office/powerpoint/2010/main" val="395669850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-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86390" y="1472037"/>
            <a:ext cx="5365148" cy="726353"/>
          </a:xfrm>
        </p:spPr>
        <p:txBody>
          <a:bodyPr wrap="square">
            <a:spAutoFit/>
          </a:bodyPr>
          <a:lstStyle>
            <a:lvl1pPr marL="0" indent="0">
              <a:buNone/>
              <a:defRPr>
                <a:solidFill>
                  <a:srgbClr val="505050"/>
                </a:solidFill>
              </a:defRPr>
            </a:lvl1pPr>
            <a:lvl2pPr marL="228600" indent="0">
              <a:buNone/>
              <a:defRPr>
                <a:solidFill>
                  <a:srgbClr val="505050"/>
                </a:solidFill>
              </a:defRPr>
            </a:lvl2pPr>
            <a:lvl3pPr marL="457200" indent="0">
              <a:buNone/>
              <a:defRPr>
                <a:solidFill>
                  <a:srgbClr val="505050"/>
                </a:solidFill>
              </a:defRPr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First level (Segoe UI, size 16pt)</a:t>
            </a:r>
          </a:p>
          <a:p>
            <a:pPr lvl="1"/>
            <a:r>
              <a:rPr lang="en-US"/>
              <a:t>Second level (Segoe UI, size 14pt)</a:t>
            </a:r>
          </a:p>
          <a:p>
            <a:pPr lvl="2"/>
            <a:r>
              <a:rPr lang="en-US"/>
              <a:t>Third level (Segoe UI, size 12pt)</a:t>
            </a:r>
          </a:p>
        </p:txBody>
      </p:sp>
      <p:sp>
        <p:nvSpPr>
          <p:cNvPr id="26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6242050" y="1472037"/>
            <a:ext cx="5360670" cy="726353"/>
          </a:xfrm>
        </p:spPr>
        <p:txBody>
          <a:bodyPr/>
          <a:lstStyle>
            <a:lvl1pPr>
              <a:defRPr>
                <a:solidFill>
                  <a:srgbClr val="505050"/>
                </a:solidFill>
              </a:defRPr>
            </a:lvl1pPr>
            <a:lvl2pPr>
              <a:defRPr>
                <a:solidFill>
                  <a:srgbClr val="505050"/>
                </a:solidFill>
              </a:defRPr>
            </a:lvl2pPr>
            <a:lvl3pPr>
              <a:defRPr>
                <a:solidFill>
                  <a:srgbClr val="505050"/>
                </a:solidFill>
              </a:defRPr>
            </a:lvl3pPr>
          </a:lstStyle>
          <a:p>
            <a:pPr lvl="0"/>
            <a:r>
              <a:rPr lang="en-US"/>
              <a:t>First level (Segoe UI, size 16pt)</a:t>
            </a:r>
          </a:p>
          <a:p>
            <a:pPr lvl="1"/>
            <a:r>
              <a:rPr lang="en-US"/>
              <a:t>Second level (Segoe UI, size 14pt)</a:t>
            </a:r>
          </a:p>
          <a:p>
            <a:pPr lvl="2"/>
            <a:r>
              <a:rPr lang="en-US"/>
              <a:t>Third level (Segoe UI, size 12pt)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88BB4F3-12F0-4629-9B5B-943F33BA91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585216"/>
            <a:ext cx="5363275" cy="246221"/>
          </a:xfrm>
        </p:spPr>
        <p:txBody>
          <a:bodyPr/>
          <a:lstStyle>
            <a:lvl1pPr>
              <a:defRPr>
                <a:solidFill>
                  <a:srgbClr val="505050"/>
                </a:solidFill>
              </a:defRPr>
            </a:lvl1pPr>
          </a:lstStyle>
          <a:p>
            <a:r>
              <a:rPr lang="en-US"/>
              <a:t>Title (Segoe UI, size 16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01523284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C35E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C35EA4"/>
          </p15:clr>
        </p15:guide>
        <p15:guide id="17" pos="3932">
          <p15:clr>
            <a:srgbClr val="C35E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C35EA4"/>
          </p15:clr>
        </p15:guide>
        <p15:guide id="21" pos="5120">
          <p15:clr>
            <a:srgbClr val="C35E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20">
          <p15:clr>
            <a:srgbClr val="5ACBF0"/>
          </p15:clr>
        </p15:guide>
        <p15:guide id="31" pos="2743">
          <p15:clr>
            <a:srgbClr val="C35EA4"/>
          </p15:clr>
        </p15:guide>
        <p15:guide id="32" orient="horz" pos="1439">
          <p15:clr>
            <a:srgbClr val="C35EA4"/>
          </p15:clr>
        </p15:guide>
        <p15:guide id="33" orient="horz" pos="1625">
          <p15:clr>
            <a:srgbClr val="C35EA4"/>
          </p15:clr>
        </p15:guide>
        <p15:guide id="35" orient="horz" pos="2250">
          <p15:clr>
            <a:srgbClr val="C35EA4"/>
          </p15:clr>
        </p15:guide>
        <p15:guide id="36" orient="horz" pos="2066">
          <p15:clr>
            <a:srgbClr val="C35EA4"/>
          </p15:clr>
        </p15:guide>
        <p15:guide id="37" orient="horz" pos="2697">
          <p15:clr>
            <a:srgbClr val="C35EA4"/>
          </p15:clr>
        </p15:guide>
        <p15:guide id="38" orient="horz" pos="2880">
          <p15:clr>
            <a:srgbClr val="C35EA4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bg>
      <p:bgPr>
        <a:solidFill>
          <a:srgbClr val="F9F9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AAD849-7CFE-4AF7-A7C5-6BBD50C88C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7A44A55-E78C-4A8B-2013-2C13426A7553}"/>
              </a:ext>
            </a:extLst>
          </p:cNvPr>
          <p:cNvSpPr txBox="1"/>
          <p:nvPr userDrawn="1"/>
        </p:nvSpPr>
        <p:spPr>
          <a:xfrm>
            <a:off x="584200" y="6473666"/>
            <a:ext cx="1676741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200" normalizeH="0" baseline="0" noProof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Segoe Sans Display" pitchFamily="2" charset="0"/>
                <a:ea typeface="+mn-ea"/>
                <a:cs typeface="Segoe Sans Display" pitchFamily="2" charset="0"/>
              </a:rPr>
              <a:t>MICROSOFT CONFIDENTIAL</a:t>
            </a:r>
          </a:p>
        </p:txBody>
      </p:sp>
    </p:spTree>
    <p:extLst>
      <p:ext uri="{BB962C8B-B14F-4D97-AF65-F5344CB8AC3E}">
        <p14:creationId xmlns:p14="http://schemas.microsoft.com/office/powerpoint/2010/main" val="642880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147C0D-F9B1-7F3D-8C8B-3474384A0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83FD3B7-FCA1-E566-32FF-9EB2E4DD08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284A76-A47E-14EB-F955-BD469B7234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1CAABC-D95E-4838-8CE2-FC16B5FC7DC6}" type="datetimeFigureOut">
              <a:rPr lang="en-US" smtClean="0"/>
              <a:t>4/1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62BAAB5-410B-28EB-3B9C-9DB3B36B31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0548186-8A91-CB0D-BC48-66AA980ED5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7F255F-3C42-4CFA-923C-99DFF8B163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920996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AAD849-7CFE-4AF7-A7C5-6BBD50C88C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4" y="457200"/>
            <a:ext cx="11018520" cy="55399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5200306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o not remove" hidden="1">
            <a:extLst>
              <a:ext uri="{FF2B5EF4-FFF2-40B4-BE49-F238E27FC236}">
                <a16:creationId xmlns:a16="http://schemas.microsoft.com/office/drawing/2014/main" id="{5F61E96A-1123-E346-A1F0-85896A0566F9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0583" cy="10583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Display" pitchFamily="2" charset="0"/>
              <a:ea typeface="+mn-ea"/>
              <a:cs typeface="+mn-cs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60" y="1591"/>
          <a:ext cx="155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60" y="1591"/>
                        <a:ext cx="155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562711" y="1508400"/>
            <a:ext cx="11068062" cy="138512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136489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ocument blank slide with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">
            <a:extLst>
              <a:ext uri="{FF2B5EF4-FFF2-40B4-BE49-F238E27FC236}">
                <a16:creationId xmlns:a16="http://schemas.microsoft.com/office/drawing/2014/main" id="{EAD47323-4439-434B-BE81-49E2471F59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49128" y="6516660"/>
            <a:ext cx="158750" cy="12824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lnSpc>
                <a:spcPct val="100000"/>
              </a:lnSpc>
              <a:spcBef>
                <a:spcPts val="0"/>
              </a:spcBef>
              <a:defRPr sz="667" b="0" i="0" spc="0" baseline="0">
                <a:solidFill>
                  <a:srgbClr val="1B1B1B"/>
                </a:solidFill>
                <a:latin typeface="Segoe Sans Display" pitchFamily="2" charset="0"/>
                <a:cs typeface="Segoe Sans Display" pitchFamily="2" charset="0"/>
              </a:defRPr>
            </a:lvl1pPr>
          </a:lstStyle>
          <a:p>
            <a:pPr marL="21164" defTabSz="761940"/>
            <a:fld id="{81D60167-4931-47E6-BA6A-407CBD079E47}" type="slidenum">
              <a:rPr lang="en-US" smtClean="0"/>
              <a:pPr marL="21164" defTabSz="761940"/>
              <a:t>‹#›</a:t>
            </a:fld>
            <a:endParaRPr lang="en-US"/>
          </a:p>
        </p:txBody>
      </p:sp>
      <p:sp>
        <p:nvSpPr>
          <p:cNvPr id="9" name="Footer note">
            <a:extLst>
              <a:ext uri="{FF2B5EF4-FFF2-40B4-BE49-F238E27FC236}">
                <a16:creationId xmlns:a16="http://schemas.microsoft.com/office/drawing/2014/main" id="{E6FA3CEB-A811-492F-8636-B2C5A8D47DF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56730" y="6516660"/>
            <a:ext cx="2707080" cy="12824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lnSpc>
                <a:spcPct val="100000"/>
              </a:lnSpc>
              <a:spcBef>
                <a:spcPts val="0"/>
              </a:spcBef>
              <a:defRPr sz="667" b="0" i="0" spc="0" baseline="0">
                <a:solidFill>
                  <a:srgbClr val="1B1B1B"/>
                </a:solidFill>
                <a:latin typeface="Segoe Sans Display" pitchFamily="2" charset="0"/>
                <a:cs typeface="Segoe Sans Display" pitchFamily="2" charset="0"/>
              </a:defRPr>
            </a:lvl1pPr>
          </a:lstStyle>
          <a:p>
            <a:pPr marL="10583" defTabSz="761940"/>
            <a:r>
              <a:rPr lang="en-US"/>
              <a:t>Windows execution guidelines / Template / Section name</a:t>
            </a:r>
          </a:p>
        </p:txBody>
      </p:sp>
    </p:spTree>
    <p:extLst>
      <p:ext uri="{BB962C8B-B14F-4D97-AF65-F5344CB8AC3E}">
        <p14:creationId xmlns:p14="http://schemas.microsoft.com/office/powerpoint/2010/main" val="2290605714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4" y="457200"/>
            <a:ext cx="11018520" cy="55399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8A212C2-8B30-4835-8711-AA981B6CFBE1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84201" y="1435101"/>
            <a:ext cx="11018838" cy="161249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3422215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ark">
    <p:bg>
      <p:bgPr>
        <a:solidFill>
          <a:schemeClr val="tx1">
            <a:lumMod val="95000"/>
            <a:lumOff val="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">
            <a:extLst>
              <a:ext uri="{FF2B5EF4-FFF2-40B4-BE49-F238E27FC236}">
                <a16:creationId xmlns:a16="http://schemas.microsoft.com/office/drawing/2014/main" id="{48C8B1F9-71DC-AE05-5027-304462D26356}"/>
              </a:ext>
            </a:extLst>
          </p:cNvPr>
          <p:cNvSpPr/>
          <p:nvPr userDrawn="1"/>
        </p:nvSpPr>
        <p:spPr>
          <a:xfrm>
            <a:off x="330028" y="6487247"/>
            <a:ext cx="11531947" cy="0"/>
          </a:xfrm>
          <a:prstGeom prst="line">
            <a:avLst/>
          </a:prstGeom>
          <a:ln w="6350">
            <a:solidFill>
              <a:schemeClr val="bg1">
                <a:lumMod val="65000"/>
              </a:schemeClr>
            </a:solidFill>
            <a:miter lim="400000"/>
          </a:ln>
        </p:spPr>
        <p:txBody>
          <a:bodyPr lIns="23813" tIns="23813" rIns="23813" bIns="23813" anchor="ctr"/>
          <a:lstStyle/>
          <a:p>
            <a:endParaRPr sz="844"/>
          </a:p>
        </p:txBody>
      </p:sp>
      <p:sp>
        <p:nvSpPr>
          <p:cNvPr id="5" name="06 01 — 2020">
            <a:extLst>
              <a:ext uri="{FF2B5EF4-FFF2-40B4-BE49-F238E27FC236}">
                <a16:creationId xmlns:a16="http://schemas.microsoft.com/office/drawing/2014/main" id="{7909CA28-1794-538E-41D2-9AE53C4FF3C5}"/>
              </a:ext>
            </a:extLst>
          </p:cNvPr>
          <p:cNvSpPr txBox="1"/>
          <p:nvPr userDrawn="1"/>
        </p:nvSpPr>
        <p:spPr>
          <a:xfrm>
            <a:off x="11764575" y="6623380"/>
            <a:ext cx="97399" cy="8784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>
            <a:lvl1pPr defTabSz="825500">
              <a:lnSpc>
                <a:spcPct val="110000"/>
              </a:lnSpc>
              <a:spcBef>
                <a:spcPts val="0"/>
              </a:spcBef>
              <a:defRPr sz="1200" spc="24">
                <a:solidFill>
                  <a:srgbClr val="929292"/>
                </a:solidFill>
                <a:latin typeface="Segoe Pro"/>
                <a:ea typeface="Segoe Pro"/>
                <a:cs typeface="Segoe Pro"/>
                <a:sym typeface="Segoe Pro"/>
              </a:defRPr>
            </a:lvl1pPr>
          </a:lstStyle>
          <a:p>
            <a:pPr algn="r"/>
            <a:fld id="{86CB4B4D-7CA3-9044-876B-883B54F8677D}" type="slidenum">
              <a:rPr lang="en-US" sz="563" smtClean="0">
                <a:solidFill>
                  <a:schemeClr val="bg1">
                    <a:lumMod val="65000"/>
                  </a:schemeClr>
                </a:solidFill>
                <a:latin typeface="Segoe UI" panose="020B0502040204020203" pitchFamily="34" charset="0"/>
              </a:rPr>
              <a:pPr algn="r"/>
              <a:t>‹#›</a:t>
            </a:fld>
            <a:endParaRPr sz="563">
              <a:solidFill>
                <a:schemeClr val="bg1">
                  <a:lumMod val="65000"/>
                </a:schemeClr>
              </a:solidFill>
              <a:latin typeface="Segoe UI" panose="020B0502040204020203" pitchFamily="34" charset="0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B00123BB-8A4D-9A19-8271-8455B0775882}"/>
              </a:ext>
            </a:extLst>
          </p:cNvPr>
          <p:cNvGrpSpPr/>
          <p:nvPr userDrawn="1"/>
        </p:nvGrpSpPr>
        <p:grpSpPr>
          <a:xfrm>
            <a:off x="330026" y="6625887"/>
            <a:ext cx="93750" cy="93822"/>
            <a:chOff x="330026" y="6625887"/>
            <a:chExt cx="93750" cy="93822"/>
          </a:xfrm>
          <a:solidFill>
            <a:schemeClr val="bg1">
              <a:lumMod val="65000"/>
            </a:schemeClr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55FE8E8-FD47-AFEA-3132-812BC9F8D768}"/>
                </a:ext>
              </a:extLst>
            </p:cNvPr>
            <p:cNvSpPr/>
            <p:nvPr userDrawn="1"/>
          </p:nvSpPr>
          <p:spPr>
            <a:xfrm>
              <a:off x="330026" y="6625887"/>
              <a:ext cx="43567" cy="435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DAEA2BD5-B3B4-100D-FD1D-349CC2B4EAE9}"/>
                </a:ext>
              </a:extLst>
            </p:cNvPr>
            <p:cNvSpPr/>
            <p:nvPr userDrawn="1"/>
          </p:nvSpPr>
          <p:spPr>
            <a:xfrm>
              <a:off x="380209" y="6625887"/>
              <a:ext cx="43567" cy="435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DEF2B3E-6C91-EA48-6682-522B7A0C5AB3}"/>
                </a:ext>
              </a:extLst>
            </p:cNvPr>
            <p:cNvSpPr/>
            <p:nvPr userDrawn="1"/>
          </p:nvSpPr>
          <p:spPr>
            <a:xfrm>
              <a:off x="330026" y="6676142"/>
              <a:ext cx="43567" cy="435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9452379F-B230-E92F-75B8-B0F758EAA036}"/>
                </a:ext>
              </a:extLst>
            </p:cNvPr>
            <p:cNvSpPr/>
            <p:nvPr userDrawn="1"/>
          </p:nvSpPr>
          <p:spPr>
            <a:xfrm>
              <a:off x="380209" y="6676142"/>
              <a:ext cx="43567" cy="435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7" name="Footer Placeholder 15">
            <a:extLst>
              <a:ext uri="{FF2B5EF4-FFF2-40B4-BE49-F238E27FC236}">
                <a16:creationId xmlns:a16="http://schemas.microsoft.com/office/drawing/2014/main" id="{DE53E81C-FD33-5133-2684-DA3D388809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62390" y="6578648"/>
            <a:ext cx="1923881" cy="187367"/>
          </a:xfrm>
        </p:spPr>
        <p:txBody>
          <a:bodyPr/>
          <a:lstStyle>
            <a:lvl1pPr algn="l">
              <a:defRPr sz="600">
                <a:solidFill>
                  <a:schemeClr val="bg1">
                    <a:lumMod val="65000"/>
                  </a:schemeClr>
                </a:solidFill>
                <a:latin typeface="Segoe UI" panose="020B0502040204020203" pitchFamily="34" charset="0"/>
              </a:defRPr>
            </a:lvl1pPr>
          </a:lstStyle>
          <a:p>
            <a:pPr>
              <a:defRPr/>
            </a:pPr>
            <a:endParaRPr lang="en-US"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200108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04">
          <p15:clr>
            <a:srgbClr val="FBAE40"/>
          </p15:clr>
        </p15:guide>
        <p15:guide id="2" pos="345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887445"/>
            <a:ext cx="9144000" cy="646331"/>
          </a:xfrm>
          <a:noFill/>
        </p:spPr>
        <p:txBody>
          <a:bodyPr lIns="0" tIns="0" rIns="0" bIns="0" anchor="b" anchorCtr="0">
            <a:spAutoFit/>
          </a:bodyPr>
          <a:lstStyle>
            <a:lvl1pPr>
              <a:defRPr sz="4200" spc="-50" baseline="0">
                <a:solidFill>
                  <a:srgbClr val="505050"/>
                </a:soli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Section slide</a:t>
            </a:r>
          </a:p>
        </p:txBody>
      </p:sp>
    </p:spTree>
    <p:extLst>
      <p:ext uri="{BB962C8B-B14F-4D97-AF65-F5344CB8AC3E}">
        <p14:creationId xmlns:p14="http://schemas.microsoft.com/office/powerpoint/2010/main" val="39275430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ct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0CA82E13-10B6-8B0D-8953-077B8B428FB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B52F366E-AFD1-6061-AC72-AFF9F5284921}"/>
              </a:ext>
            </a:extLst>
          </p:cNvPr>
          <p:cNvGrpSpPr/>
          <p:nvPr userDrawn="1"/>
        </p:nvGrpSpPr>
        <p:grpSpPr>
          <a:xfrm>
            <a:off x="330026" y="6625887"/>
            <a:ext cx="93750" cy="93822"/>
            <a:chOff x="581025" y="6570663"/>
            <a:chExt cx="113437" cy="113524"/>
          </a:xfrm>
          <a:solidFill>
            <a:schemeClr val="bg1"/>
          </a:solidFill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31354B3-A979-9231-B5F9-18C933BF7AF8}"/>
                </a:ext>
              </a:extLst>
            </p:cNvPr>
            <p:cNvSpPr/>
            <p:nvPr userDrawn="1"/>
          </p:nvSpPr>
          <p:spPr>
            <a:xfrm>
              <a:off x="581025" y="6570663"/>
              <a:ext cx="52716" cy="5271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A1B73C9-99AE-31B5-A1F1-95A18C62B054}"/>
                </a:ext>
              </a:extLst>
            </p:cNvPr>
            <p:cNvSpPr/>
            <p:nvPr userDrawn="1"/>
          </p:nvSpPr>
          <p:spPr>
            <a:xfrm>
              <a:off x="641746" y="6570663"/>
              <a:ext cx="52716" cy="5271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F1FB00D7-5F86-4623-15D0-7B97862AD699}"/>
                </a:ext>
              </a:extLst>
            </p:cNvPr>
            <p:cNvSpPr/>
            <p:nvPr userDrawn="1"/>
          </p:nvSpPr>
          <p:spPr>
            <a:xfrm>
              <a:off x="581025" y="6631471"/>
              <a:ext cx="52716" cy="5271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27A6767B-21D8-E7B5-F43F-D525C12AB0EE}"/>
                </a:ext>
              </a:extLst>
            </p:cNvPr>
            <p:cNvSpPr/>
            <p:nvPr userDrawn="1"/>
          </p:nvSpPr>
          <p:spPr>
            <a:xfrm>
              <a:off x="641746" y="6631471"/>
              <a:ext cx="52716" cy="5271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0" name="Title 1">
            <a:extLst>
              <a:ext uri="{FF2B5EF4-FFF2-40B4-BE49-F238E27FC236}">
                <a16:creationId xmlns:a16="http://schemas.microsoft.com/office/drawing/2014/main" id="{2B970936-3996-3A69-66C1-6FBCB6803AF6}"/>
              </a:ext>
            </a:extLst>
          </p:cNvPr>
          <p:cNvSpPr txBox="1">
            <a:spLocks/>
          </p:cNvSpPr>
          <p:nvPr userDrawn="1"/>
        </p:nvSpPr>
        <p:spPr>
          <a:xfrm>
            <a:off x="657225" y="6624654"/>
            <a:ext cx="1776413" cy="99996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Microsoft High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24915114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725">
          <p15:clr>
            <a:srgbClr val="FBAE40"/>
          </p15:clr>
        </p15:guide>
        <p15:guide id="2" orient="horz" pos="1863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Act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53CEE5E-C970-062D-BEDD-94E053A0032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B52F366E-AFD1-6061-AC72-AFF9F5284921}"/>
              </a:ext>
            </a:extLst>
          </p:cNvPr>
          <p:cNvGrpSpPr/>
          <p:nvPr userDrawn="1"/>
        </p:nvGrpSpPr>
        <p:grpSpPr>
          <a:xfrm>
            <a:off x="330026" y="6625887"/>
            <a:ext cx="93750" cy="93822"/>
            <a:chOff x="581025" y="6570663"/>
            <a:chExt cx="113437" cy="113524"/>
          </a:xfrm>
          <a:solidFill>
            <a:schemeClr val="bg1"/>
          </a:solidFill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31354B3-A979-9231-B5F9-18C933BF7AF8}"/>
                </a:ext>
              </a:extLst>
            </p:cNvPr>
            <p:cNvSpPr/>
            <p:nvPr userDrawn="1"/>
          </p:nvSpPr>
          <p:spPr>
            <a:xfrm>
              <a:off x="581025" y="6570663"/>
              <a:ext cx="52716" cy="5271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A1B73C9-99AE-31B5-A1F1-95A18C62B054}"/>
                </a:ext>
              </a:extLst>
            </p:cNvPr>
            <p:cNvSpPr/>
            <p:nvPr userDrawn="1"/>
          </p:nvSpPr>
          <p:spPr>
            <a:xfrm>
              <a:off x="641746" y="6570663"/>
              <a:ext cx="52716" cy="5271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F1FB00D7-5F86-4623-15D0-7B97862AD699}"/>
                </a:ext>
              </a:extLst>
            </p:cNvPr>
            <p:cNvSpPr/>
            <p:nvPr userDrawn="1"/>
          </p:nvSpPr>
          <p:spPr>
            <a:xfrm>
              <a:off x="581025" y="6631471"/>
              <a:ext cx="52716" cy="5271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27A6767B-21D8-E7B5-F43F-D525C12AB0EE}"/>
                </a:ext>
              </a:extLst>
            </p:cNvPr>
            <p:cNvSpPr/>
            <p:nvPr userDrawn="1"/>
          </p:nvSpPr>
          <p:spPr>
            <a:xfrm>
              <a:off x="641746" y="6631471"/>
              <a:ext cx="52716" cy="5271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0" name="Title 1">
            <a:extLst>
              <a:ext uri="{FF2B5EF4-FFF2-40B4-BE49-F238E27FC236}">
                <a16:creationId xmlns:a16="http://schemas.microsoft.com/office/drawing/2014/main" id="{2B970936-3996-3A69-66C1-6FBCB6803AF6}"/>
              </a:ext>
            </a:extLst>
          </p:cNvPr>
          <p:cNvSpPr txBox="1">
            <a:spLocks/>
          </p:cNvSpPr>
          <p:nvPr userDrawn="1"/>
        </p:nvSpPr>
        <p:spPr>
          <a:xfrm>
            <a:off x="657225" y="6624654"/>
            <a:ext cx="1776413" cy="99996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Microsoft High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28040025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725">
          <p15:clr>
            <a:srgbClr val="FBAE40"/>
          </p15:clr>
        </p15:guide>
        <p15:guide id="2" orient="horz" pos="1863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Dark">
    <p:bg>
      <p:bgPr>
        <a:solidFill>
          <a:schemeClr val="tx1">
            <a:lumMod val="95000"/>
            <a:lumOff val="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05FC7A2C-A6E3-4B9D-4488-A32C450A76AA}"/>
              </a:ext>
            </a:extLst>
          </p:cNvPr>
          <p:cNvGrpSpPr/>
          <p:nvPr userDrawn="1"/>
        </p:nvGrpSpPr>
        <p:grpSpPr>
          <a:xfrm>
            <a:off x="330026" y="6625887"/>
            <a:ext cx="93750" cy="93822"/>
            <a:chOff x="581025" y="6570663"/>
            <a:chExt cx="113437" cy="113524"/>
          </a:xfrm>
          <a:solidFill>
            <a:schemeClr val="bg1"/>
          </a:solidFill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9CE4530A-178E-D523-F0BC-CBACFFB3753C}"/>
                </a:ext>
              </a:extLst>
            </p:cNvPr>
            <p:cNvSpPr/>
            <p:nvPr userDrawn="1"/>
          </p:nvSpPr>
          <p:spPr>
            <a:xfrm>
              <a:off x="581025" y="6570663"/>
              <a:ext cx="52716" cy="5271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895CF682-737C-2F0F-BD88-063D5DAFDC06}"/>
                </a:ext>
              </a:extLst>
            </p:cNvPr>
            <p:cNvSpPr/>
            <p:nvPr userDrawn="1"/>
          </p:nvSpPr>
          <p:spPr>
            <a:xfrm>
              <a:off x="641746" y="6570663"/>
              <a:ext cx="52716" cy="5271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94ABD447-D840-E898-9177-3F5F8574E65D}"/>
                </a:ext>
              </a:extLst>
            </p:cNvPr>
            <p:cNvSpPr/>
            <p:nvPr userDrawn="1"/>
          </p:nvSpPr>
          <p:spPr>
            <a:xfrm>
              <a:off x="581025" y="6631471"/>
              <a:ext cx="52716" cy="5271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17BF18CF-9755-3FF4-A286-3943670164FB}"/>
                </a:ext>
              </a:extLst>
            </p:cNvPr>
            <p:cNvSpPr/>
            <p:nvPr userDrawn="1"/>
          </p:nvSpPr>
          <p:spPr>
            <a:xfrm>
              <a:off x="641746" y="6631471"/>
              <a:ext cx="52716" cy="5271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0" name="Title 1">
            <a:extLst>
              <a:ext uri="{FF2B5EF4-FFF2-40B4-BE49-F238E27FC236}">
                <a16:creationId xmlns:a16="http://schemas.microsoft.com/office/drawing/2014/main" id="{66AB3052-E412-C9D3-D10A-3A1C5653C4D1}"/>
              </a:ext>
            </a:extLst>
          </p:cNvPr>
          <p:cNvSpPr txBox="1">
            <a:spLocks/>
          </p:cNvSpPr>
          <p:nvPr userDrawn="1"/>
        </p:nvSpPr>
        <p:spPr>
          <a:xfrm>
            <a:off x="657225" y="6624654"/>
            <a:ext cx="1776413" cy="99996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5FBFF"/>
                </a:solidFill>
                <a:effectLst/>
                <a:uLnTx/>
                <a:uFillTx/>
                <a:latin typeface="Segoe Sans Display" pitchFamily="2" charset="0"/>
                <a:ea typeface="+mj-ea"/>
                <a:cs typeface="Segoe Sans Display" pitchFamily="2" charset="0"/>
              </a:rPr>
              <a:t>Microsoft High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45889575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304">
          <p15:clr>
            <a:srgbClr val="FBAE40"/>
          </p15:clr>
        </p15:guide>
        <p15:guide id="2" pos="3456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Light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F818133F-23B1-9DB9-FA4E-B63791561275}"/>
              </a:ext>
            </a:extLst>
          </p:cNvPr>
          <p:cNvGrpSpPr/>
          <p:nvPr userDrawn="1"/>
        </p:nvGrpSpPr>
        <p:grpSpPr>
          <a:xfrm>
            <a:off x="330026" y="6625887"/>
            <a:ext cx="93750" cy="93822"/>
            <a:chOff x="581025" y="6570663"/>
            <a:chExt cx="113437" cy="113524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4C3E695D-D1D5-E97F-3848-9B075220DD31}"/>
                </a:ext>
              </a:extLst>
            </p:cNvPr>
            <p:cNvSpPr/>
            <p:nvPr userDrawn="1"/>
          </p:nvSpPr>
          <p:spPr>
            <a:xfrm>
              <a:off x="581025" y="6570663"/>
              <a:ext cx="52716" cy="52716"/>
            </a:xfrm>
            <a:prstGeom prst="rect">
              <a:avLst/>
            </a:prstGeom>
            <a:solidFill>
              <a:srgbClr val="2626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D76BB6E7-08F1-F3C7-A749-42E7CF89696C}"/>
                </a:ext>
              </a:extLst>
            </p:cNvPr>
            <p:cNvSpPr/>
            <p:nvPr userDrawn="1"/>
          </p:nvSpPr>
          <p:spPr>
            <a:xfrm>
              <a:off x="641746" y="6570663"/>
              <a:ext cx="52716" cy="52716"/>
            </a:xfrm>
            <a:prstGeom prst="rect">
              <a:avLst/>
            </a:prstGeom>
            <a:solidFill>
              <a:srgbClr val="2626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F73C12ED-BB00-5A1A-7751-4D4C9015F6A5}"/>
                </a:ext>
              </a:extLst>
            </p:cNvPr>
            <p:cNvSpPr/>
            <p:nvPr userDrawn="1"/>
          </p:nvSpPr>
          <p:spPr>
            <a:xfrm>
              <a:off x="581025" y="6631471"/>
              <a:ext cx="52716" cy="52716"/>
            </a:xfrm>
            <a:prstGeom prst="rect">
              <a:avLst/>
            </a:prstGeom>
            <a:solidFill>
              <a:srgbClr val="2626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37D2C6AC-5D59-0DEC-9268-52F1AC5BD4D6}"/>
                </a:ext>
              </a:extLst>
            </p:cNvPr>
            <p:cNvSpPr/>
            <p:nvPr userDrawn="1"/>
          </p:nvSpPr>
          <p:spPr>
            <a:xfrm>
              <a:off x="641746" y="6631471"/>
              <a:ext cx="52716" cy="52716"/>
            </a:xfrm>
            <a:prstGeom prst="rect">
              <a:avLst/>
            </a:prstGeom>
            <a:solidFill>
              <a:srgbClr val="2626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itle 1">
            <a:extLst>
              <a:ext uri="{FF2B5EF4-FFF2-40B4-BE49-F238E27FC236}">
                <a16:creationId xmlns:a16="http://schemas.microsoft.com/office/drawing/2014/main" id="{5CB300F4-23D5-483B-FDA9-F0C4507D4728}"/>
              </a:ext>
            </a:extLst>
          </p:cNvPr>
          <p:cNvSpPr txBox="1">
            <a:spLocks/>
          </p:cNvSpPr>
          <p:nvPr userDrawn="1"/>
        </p:nvSpPr>
        <p:spPr>
          <a:xfrm>
            <a:off x="657225" y="6624654"/>
            <a:ext cx="1776413" cy="99996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Segoe Sans Display" pitchFamily="2" charset="0"/>
                <a:ea typeface="+mj-ea"/>
                <a:cs typeface="Segoe Sans Display" pitchFamily="2" charset="0"/>
              </a:rPr>
              <a:t>Microsoft High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46307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04">
          <p15:clr>
            <a:srgbClr val="FBAE40"/>
          </p15:clr>
        </p15:guide>
        <p15:guide id="2" pos="3456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69EB3D-D611-7E49-533C-61CB1C8242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86A2145-4432-8C93-A5E1-32B944A46E8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88512C7-3269-9BE5-4B64-644052D5B22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3102E65-CD0E-3E15-C0C1-72062907DA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1CAABC-D95E-4838-8CE2-FC16B5FC7DC6}" type="datetimeFigureOut">
              <a:rPr lang="en-US" smtClean="0"/>
              <a:t>4/17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19B8AC5-9FB4-BC20-B99B-E78995EE86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1914FD7-08EB-780C-DB88-4FB68C88A9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7F255F-3C42-4CFA-923C-99DFF8B163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208130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Light">
    <p:bg>
      <p:bgPr>
        <a:solidFill>
          <a:srgbClr val="FBFBF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E3E9AA4-FAF3-DCAA-AEF7-D4647F77B05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F818133F-23B1-9DB9-FA4E-B63791561275}"/>
              </a:ext>
            </a:extLst>
          </p:cNvPr>
          <p:cNvGrpSpPr/>
          <p:nvPr userDrawn="1"/>
        </p:nvGrpSpPr>
        <p:grpSpPr>
          <a:xfrm>
            <a:off x="330026" y="6625887"/>
            <a:ext cx="93750" cy="93822"/>
            <a:chOff x="581025" y="6570663"/>
            <a:chExt cx="113437" cy="113524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4C3E695D-D1D5-E97F-3848-9B075220DD31}"/>
                </a:ext>
              </a:extLst>
            </p:cNvPr>
            <p:cNvSpPr/>
            <p:nvPr userDrawn="1"/>
          </p:nvSpPr>
          <p:spPr>
            <a:xfrm>
              <a:off x="581025" y="6570663"/>
              <a:ext cx="52716" cy="52716"/>
            </a:xfrm>
            <a:prstGeom prst="rect">
              <a:avLst/>
            </a:prstGeom>
            <a:solidFill>
              <a:srgbClr val="2626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D76BB6E7-08F1-F3C7-A749-42E7CF89696C}"/>
                </a:ext>
              </a:extLst>
            </p:cNvPr>
            <p:cNvSpPr/>
            <p:nvPr userDrawn="1"/>
          </p:nvSpPr>
          <p:spPr>
            <a:xfrm>
              <a:off x="641746" y="6570663"/>
              <a:ext cx="52716" cy="52716"/>
            </a:xfrm>
            <a:prstGeom prst="rect">
              <a:avLst/>
            </a:prstGeom>
            <a:solidFill>
              <a:srgbClr val="2626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F73C12ED-BB00-5A1A-7751-4D4C9015F6A5}"/>
                </a:ext>
              </a:extLst>
            </p:cNvPr>
            <p:cNvSpPr/>
            <p:nvPr userDrawn="1"/>
          </p:nvSpPr>
          <p:spPr>
            <a:xfrm>
              <a:off x="581025" y="6631471"/>
              <a:ext cx="52716" cy="52716"/>
            </a:xfrm>
            <a:prstGeom prst="rect">
              <a:avLst/>
            </a:prstGeom>
            <a:solidFill>
              <a:srgbClr val="2626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37D2C6AC-5D59-0DEC-9268-52F1AC5BD4D6}"/>
                </a:ext>
              </a:extLst>
            </p:cNvPr>
            <p:cNvSpPr/>
            <p:nvPr userDrawn="1"/>
          </p:nvSpPr>
          <p:spPr>
            <a:xfrm>
              <a:off x="641746" y="6631471"/>
              <a:ext cx="52716" cy="52716"/>
            </a:xfrm>
            <a:prstGeom prst="rect">
              <a:avLst/>
            </a:prstGeom>
            <a:solidFill>
              <a:srgbClr val="2626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itle 1">
            <a:extLst>
              <a:ext uri="{FF2B5EF4-FFF2-40B4-BE49-F238E27FC236}">
                <a16:creationId xmlns:a16="http://schemas.microsoft.com/office/drawing/2014/main" id="{5CB300F4-23D5-483B-FDA9-F0C4507D4728}"/>
              </a:ext>
            </a:extLst>
          </p:cNvPr>
          <p:cNvSpPr txBox="1">
            <a:spLocks/>
          </p:cNvSpPr>
          <p:nvPr userDrawn="1"/>
        </p:nvSpPr>
        <p:spPr>
          <a:xfrm>
            <a:off x="657225" y="6624654"/>
            <a:ext cx="1776413" cy="99996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Segoe Sans Display" pitchFamily="2" charset="0"/>
                <a:ea typeface="+mj-ea"/>
                <a:cs typeface="Segoe Sans Display" pitchFamily="2" charset="0"/>
              </a:rPr>
              <a:t>Microsoft High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3720917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04">
          <p15:clr>
            <a:srgbClr val="FBAE40"/>
          </p15:clr>
        </p15:guide>
        <p15:guide id="2" pos="3456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Light">
    <p:bg>
      <p:bgPr>
        <a:solidFill>
          <a:srgbClr val="FBFBF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39FE124-F09F-5054-025C-E20ED21511E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F818133F-23B1-9DB9-FA4E-B63791561275}"/>
              </a:ext>
            </a:extLst>
          </p:cNvPr>
          <p:cNvGrpSpPr/>
          <p:nvPr userDrawn="1"/>
        </p:nvGrpSpPr>
        <p:grpSpPr>
          <a:xfrm>
            <a:off x="330026" y="6625887"/>
            <a:ext cx="93750" cy="93822"/>
            <a:chOff x="581025" y="6570663"/>
            <a:chExt cx="113437" cy="113524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4C3E695D-D1D5-E97F-3848-9B075220DD31}"/>
                </a:ext>
              </a:extLst>
            </p:cNvPr>
            <p:cNvSpPr/>
            <p:nvPr userDrawn="1"/>
          </p:nvSpPr>
          <p:spPr>
            <a:xfrm>
              <a:off x="581025" y="6570663"/>
              <a:ext cx="52716" cy="52716"/>
            </a:xfrm>
            <a:prstGeom prst="rect">
              <a:avLst/>
            </a:prstGeom>
            <a:solidFill>
              <a:srgbClr val="2626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D76BB6E7-08F1-F3C7-A749-42E7CF89696C}"/>
                </a:ext>
              </a:extLst>
            </p:cNvPr>
            <p:cNvSpPr/>
            <p:nvPr userDrawn="1"/>
          </p:nvSpPr>
          <p:spPr>
            <a:xfrm>
              <a:off x="641746" y="6570663"/>
              <a:ext cx="52716" cy="52716"/>
            </a:xfrm>
            <a:prstGeom prst="rect">
              <a:avLst/>
            </a:prstGeom>
            <a:solidFill>
              <a:srgbClr val="2626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F73C12ED-BB00-5A1A-7751-4D4C9015F6A5}"/>
                </a:ext>
              </a:extLst>
            </p:cNvPr>
            <p:cNvSpPr/>
            <p:nvPr userDrawn="1"/>
          </p:nvSpPr>
          <p:spPr>
            <a:xfrm>
              <a:off x="581025" y="6631471"/>
              <a:ext cx="52716" cy="52716"/>
            </a:xfrm>
            <a:prstGeom prst="rect">
              <a:avLst/>
            </a:prstGeom>
            <a:solidFill>
              <a:srgbClr val="2626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37D2C6AC-5D59-0DEC-9268-52F1AC5BD4D6}"/>
                </a:ext>
              </a:extLst>
            </p:cNvPr>
            <p:cNvSpPr/>
            <p:nvPr userDrawn="1"/>
          </p:nvSpPr>
          <p:spPr>
            <a:xfrm>
              <a:off x="641746" y="6631471"/>
              <a:ext cx="52716" cy="52716"/>
            </a:xfrm>
            <a:prstGeom prst="rect">
              <a:avLst/>
            </a:prstGeom>
            <a:solidFill>
              <a:srgbClr val="2626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itle 1">
            <a:extLst>
              <a:ext uri="{FF2B5EF4-FFF2-40B4-BE49-F238E27FC236}">
                <a16:creationId xmlns:a16="http://schemas.microsoft.com/office/drawing/2014/main" id="{5CB300F4-23D5-483B-FDA9-F0C4507D4728}"/>
              </a:ext>
            </a:extLst>
          </p:cNvPr>
          <p:cNvSpPr txBox="1">
            <a:spLocks/>
          </p:cNvSpPr>
          <p:nvPr userDrawn="1"/>
        </p:nvSpPr>
        <p:spPr>
          <a:xfrm>
            <a:off x="657225" y="6624654"/>
            <a:ext cx="1776413" cy="99996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Segoe Sans Display" pitchFamily="2" charset="0"/>
                <a:ea typeface="+mj-ea"/>
                <a:cs typeface="Segoe Sans Display" pitchFamily="2" charset="0"/>
              </a:rPr>
              <a:t>Microsoft High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33080365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04">
          <p15:clr>
            <a:srgbClr val="FBAE40"/>
          </p15:clr>
        </p15:guide>
        <p15:guide id="2" pos="345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Ligh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blue sky with white clouds&#10;&#10;Description automatically generated">
            <a:extLst>
              <a:ext uri="{FF2B5EF4-FFF2-40B4-BE49-F238E27FC236}">
                <a16:creationId xmlns:a16="http://schemas.microsoft.com/office/drawing/2014/main" id="{99461FB3-6B19-869A-E3CB-7271A37CC9E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3" y="0"/>
            <a:ext cx="12191374" cy="6858000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F818133F-23B1-9DB9-FA4E-B63791561275}"/>
              </a:ext>
            </a:extLst>
          </p:cNvPr>
          <p:cNvGrpSpPr/>
          <p:nvPr userDrawn="1"/>
        </p:nvGrpSpPr>
        <p:grpSpPr>
          <a:xfrm>
            <a:off x="330026" y="6625887"/>
            <a:ext cx="93750" cy="93822"/>
            <a:chOff x="581025" y="6570663"/>
            <a:chExt cx="113437" cy="113524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4C3E695D-D1D5-E97F-3848-9B075220DD31}"/>
                </a:ext>
              </a:extLst>
            </p:cNvPr>
            <p:cNvSpPr/>
            <p:nvPr userDrawn="1"/>
          </p:nvSpPr>
          <p:spPr>
            <a:xfrm>
              <a:off x="581025" y="6570663"/>
              <a:ext cx="52716" cy="52716"/>
            </a:xfrm>
            <a:prstGeom prst="rect">
              <a:avLst/>
            </a:prstGeom>
            <a:solidFill>
              <a:srgbClr val="2626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D76BB6E7-08F1-F3C7-A749-42E7CF89696C}"/>
                </a:ext>
              </a:extLst>
            </p:cNvPr>
            <p:cNvSpPr/>
            <p:nvPr userDrawn="1"/>
          </p:nvSpPr>
          <p:spPr>
            <a:xfrm>
              <a:off x="641746" y="6570663"/>
              <a:ext cx="52716" cy="52716"/>
            </a:xfrm>
            <a:prstGeom prst="rect">
              <a:avLst/>
            </a:prstGeom>
            <a:solidFill>
              <a:srgbClr val="2626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F73C12ED-BB00-5A1A-7751-4D4C9015F6A5}"/>
                </a:ext>
              </a:extLst>
            </p:cNvPr>
            <p:cNvSpPr/>
            <p:nvPr userDrawn="1"/>
          </p:nvSpPr>
          <p:spPr>
            <a:xfrm>
              <a:off x="581025" y="6631471"/>
              <a:ext cx="52716" cy="52716"/>
            </a:xfrm>
            <a:prstGeom prst="rect">
              <a:avLst/>
            </a:prstGeom>
            <a:solidFill>
              <a:srgbClr val="2626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37D2C6AC-5D59-0DEC-9268-52F1AC5BD4D6}"/>
                </a:ext>
              </a:extLst>
            </p:cNvPr>
            <p:cNvSpPr/>
            <p:nvPr userDrawn="1"/>
          </p:nvSpPr>
          <p:spPr>
            <a:xfrm>
              <a:off x="641746" y="6631471"/>
              <a:ext cx="52716" cy="52716"/>
            </a:xfrm>
            <a:prstGeom prst="rect">
              <a:avLst/>
            </a:prstGeom>
            <a:solidFill>
              <a:srgbClr val="2626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itle 1">
            <a:extLst>
              <a:ext uri="{FF2B5EF4-FFF2-40B4-BE49-F238E27FC236}">
                <a16:creationId xmlns:a16="http://schemas.microsoft.com/office/drawing/2014/main" id="{5CB300F4-23D5-483B-FDA9-F0C4507D4728}"/>
              </a:ext>
            </a:extLst>
          </p:cNvPr>
          <p:cNvSpPr txBox="1">
            <a:spLocks/>
          </p:cNvSpPr>
          <p:nvPr userDrawn="1"/>
        </p:nvSpPr>
        <p:spPr>
          <a:xfrm>
            <a:off x="657225" y="6624654"/>
            <a:ext cx="1776413" cy="99996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Segoe Sans Display" pitchFamily="2" charset="0"/>
                <a:ea typeface="+mj-ea"/>
                <a:cs typeface="Segoe Sans Display" pitchFamily="2" charset="0"/>
              </a:rPr>
              <a:t>Microsoft High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40794457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04">
          <p15:clr>
            <a:srgbClr val="FBAE40"/>
          </p15:clr>
        </p15:guide>
        <p15:guide id="2" pos="345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Act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0CA82E13-10B6-8B0D-8953-077B8B428FB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B52F366E-AFD1-6061-AC72-AFF9F5284921}"/>
              </a:ext>
            </a:extLst>
          </p:cNvPr>
          <p:cNvGrpSpPr/>
          <p:nvPr userDrawn="1"/>
        </p:nvGrpSpPr>
        <p:grpSpPr>
          <a:xfrm>
            <a:off x="330026" y="6625887"/>
            <a:ext cx="93750" cy="93822"/>
            <a:chOff x="581025" y="6570663"/>
            <a:chExt cx="113437" cy="113524"/>
          </a:xfrm>
          <a:solidFill>
            <a:schemeClr val="bg1"/>
          </a:solidFill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31354B3-A979-9231-B5F9-18C933BF7AF8}"/>
                </a:ext>
              </a:extLst>
            </p:cNvPr>
            <p:cNvSpPr/>
            <p:nvPr userDrawn="1"/>
          </p:nvSpPr>
          <p:spPr>
            <a:xfrm>
              <a:off x="581025" y="6570663"/>
              <a:ext cx="52716" cy="5271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A1B73C9-99AE-31B5-A1F1-95A18C62B054}"/>
                </a:ext>
              </a:extLst>
            </p:cNvPr>
            <p:cNvSpPr/>
            <p:nvPr userDrawn="1"/>
          </p:nvSpPr>
          <p:spPr>
            <a:xfrm>
              <a:off x="641746" y="6570663"/>
              <a:ext cx="52716" cy="5271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F1FB00D7-5F86-4623-15D0-7B97862AD699}"/>
                </a:ext>
              </a:extLst>
            </p:cNvPr>
            <p:cNvSpPr/>
            <p:nvPr userDrawn="1"/>
          </p:nvSpPr>
          <p:spPr>
            <a:xfrm>
              <a:off x="581025" y="6631471"/>
              <a:ext cx="52716" cy="5271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27A6767B-21D8-E7B5-F43F-D525C12AB0EE}"/>
                </a:ext>
              </a:extLst>
            </p:cNvPr>
            <p:cNvSpPr/>
            <p:nvPr userDrawn="1"/>
          </p:nvSpPr>
          <p:spPr>
            <a:xfrm>
              <a:off x="641746" y="6631471"/>
              <a:ext cx="52716" cy="5271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0" name="Title 1">
            <a:extLst>
              <a:ext uri="{FF2B5EF4-FFF2-40B4-BE49-F238E27FC236}">
                <a16:creationId xmlns:a16="http://schemas.microsoft.com/office/drawing/2014/main" id="{2B970936-3996-3A69-66C1-6FBCB6803AF6}"/>
              </a:ext>
            </a:extLst>
          </p:cNvPr>
          <p:cNvSpPr txBox="1">
            <a:spLocks/>
          </p:cNvSpPr>
          <p:nvPr userDrawn="1"/>
        </p:nvSpPr>
        <p:spPr>
          <a:xfrm>
            <a:off x="657225" y="6624654"/>
            <a:ext cx="1776413" cy="99996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Microsoft High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12426856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725">
          <p15:clr>
            <a:srgbClr val="FBAE40"/>
          </p15:clr>
        </p15:guide>
        <p15:guide id="2" orient="horz" pos="1863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Act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blurry image of a person&#10;&#10;Description automatically generated">
            <a:extLst>
              <a:ext uri="{FF2B5EF4-FFF2-40B4-BE49-F238E27FC236}">
                <a16:creationId xmlns:a16="http://schemas.microsoft.com/office/drawing/2014/main" id="{3FD6613A-2DBD-36AD-57C9-799CC80EF9F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3" y="0"/>
            <a:ext cx="1219137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90886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725">
          <p15:clr>
            <a:srgbClr val="FBAE40"/>
          </p15:clr>
        </p15:guide>
        <p15:guide id="2" orient="horz" pos="1863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Dark">
    <p:bg>
      <p:bgPr>
        <a:solidFill>
          <a:schemeClr val="tx1">
            <a:lumMod val="95000"/>
            <a:lumOff val="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B00123BB-8A4D-9A19-8271-8455B0775882}"/>
              </a:ext>
            </a:extLst>
          </p:cNvPr>
          <p:cNvGrpSpPr/>
          <p:nvPr userDrawn="1"/>
        </p:nvGrpSpPr>
        <p:grpSpPr>
          <a:xfrm>
            <a:off x="594360" y="6627741"/>
            <a:ext cx="93750" cy="93822"/>
            <a:chOff x="330026" y="6625887"/>
            <a:chExt cx="93750" cy="93822"/>
          </a:xfrm>
          <a:solidFill>
            <a:schemeClr val="bg1">
              <a:lumMod val="65000"/>
            </a:schemeClr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55FE8E8-FD47-AFEA-3132-812BC9F8D768}"/>
                </a:ext>
              </a:extLst>
            </p:cNvPr>
            <p:cNvSpPr/>
            <p:nvPr userDrawn="1"/>
          </p:nvSpPr>
          <p:spPr>
            <a:xfrm>
              <a:off x="330026" y="6625887"/>
              <a:ext cx="43567" cy="435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DAEA2BD5-B3B4-100D-FD1D-349CC2B4EAE9}"/>
                </a:ext>
              </a:extLst>
            </p:cNvPr>
            <p:cNvSpPr/>
            <p:nvPr userDrawn="1"/>
          </p:nvSpPr>
          <p:spPr>
            <a:xfrm>
              <a:off x="380209" y="6625887"/>
              <a:ext cx="43567" cy="435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DEF2B3E-6C91-EA48-6682-522B7A0C5AB3}"/>
                </a:ext>
              </a:extLst>
            </p:cNvPr>
            <p:cNvSpPr/>
            <p:nvPr userDrawn="1"/>
          </p:nvSpPr>
          <p:spPr>
            <a:xfrm>
              <a:off x="330026" y="6676142"/>
              <a:ext cx="43567" cy="435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9452379F-B230-E92F-75B8-B0F758EAA036}"/>
                </a:ext>
              </a:extLst>
            </p:cNvPr>
            <p:cNvSpPr/>
            <p:nvPr userDrawn="1"/>
          </p:nvSpPr>
          <p:spPr>
            <a:xfrm>
              <a:off x="380209" y="6676142"/>
              <a:ext cx="43567" cy="435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9" name="Title 1">
            <a:extLst>
              <a:ext uri="{FF2B5EF4-FFF2-40B4-BE49-F238E27FC236}">
                <a16:creationId xmlns:a16="http://schemas.microsoft.com/office/drawing/2014/main" id="{BADF8B88-BD91-8BC5-5A67-898537852118}"/>
              </a:ext>
            </a:extLst>
          </p:cNvPr>
          <p:cNvSpPr txBox="1">
            <a:spLocks/>
          </p:cNvSpPr>
          <p:nvPr userDrawn="1"/>
        </p:nvSpPr>
        <p:spPr>
          <a:xfrm>
            <a:off x="809625" y="6624654"/>
            <a:ext cx="1624013" cy="99996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Microsoft High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399465706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304">
          <p15:clr>
            <a:srgbClr val="FBAE40"/>
          </p15:clr>
        </p15:guide>
        <p15:guide id="2" pos="345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Light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FE4DCF1A-29A4-2E3B-ED9B-3B325F865017}"/>
              </a:ext>
            </a:extLst>
          </p:cNvPr>
          <p:cNvGrpSpPr/>
          <p:nvPr userDrawn="1"/>
        </p:nvGrpSpPr>
        <p:grpSpPr>
          <a:xfrm>
            <a:off x="330026" y="6625887"/>
            <a:ext cx="93750" cy="93822"/>
            <a:chOff x="581025" y="6570663"/>
            <a:chExt cx="113437" cy="113524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9A9E4F80-6900-23A5-78B2-0B00C4EB9AA3}"/>
                </a:ext>
              </a:extLst>
            </p:cNvPr>
            <p:cNvSpPr/>
            <p:nvPr userDrawn="1"/>
          </p:nvSpPr>
          <p:spPr>
            <a:xfrm>
              <a:off x="581025" y="6570663"/>
              <a:ext cx="52716" cy="52716"/>
            </a:xfrm>
            <a:prstGeom prst="rect">
              <a:avLst/>
            </a:prstGeom>
            <a:solidFill>
              <a:srgbClr val="2626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82DC88A2-157A-DE0C-13D3-3EC59F7B8EDD}"/>
                </a:ext>
              </a:extLst>
            </p:cNvPr>
            <p:cNvSpPr/>
            <p:nvPr userDrawn="1"/>
          </p:nvSpPr>
          <p:spPr>
            <a:xfrm>
              <a:off x="641746" y="6570663"/>
              <a:ext cx="52716" cy="52716"/>
            </a:xfrm>
            <a:prstGeom prst="rect">
              <a:avLst/>
            </a:prstGeom>
            <a:solidFill>
              <a:srgbClr val="2626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752FDED7-66DA-E874-330A-21C8DD912996}"/>
                </a:ext>
              </a:extLst>
            </p:cNvPr>
            <p:cNvSpPr/>
            <p:nvPr userDrawn="1"/>
          </p:nvSpPr>
          <p:spPr>
            <a:xfrm>
              <a:off x="581025" y="6631471"/>
              <a:ext cx="52716" cy="52716"/>
            </a:xfrm>
            <a:prstGeom prst="rect">
              <a:avLst/>
            </a:prstGeom>
            <a:solidFill>
              <a:srgbClr val="2626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AA3C3B20-D0DE-DDA9-EC1B-84A39A731973}"/>
                </a:ext>
              </a:extLst>
            </p:cNvPr>
            <p:cNvSpPr/>
            <p:nvPr userDrawn="1"/>
          </p:nvSpPr>
          <p:spPr>
            <a:xfrm>
              <a:off x="641746" y="6631471"/>
              <a:ext cx="52716" cy="52716"/>
            </a:xfrm>
            <a:prstGeom prst="rect">
              <a:avLst/>
            </a:prstGeom>
            <a:solidFill>
              <a:srgbClr val="2626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9" name="Title 1">
            <a:extLst>
              <a:ext uri="{FF2B5EF4-FFF2-40B4-BE49-F238E27FC236}">
                <a16:creationId xmlns:a16="http://schemas.microsoft.com/office/drawing/2014/main" id="{469ED91E-11E4-48D5-BDD4-AC7093F4FC4F}"/>
              </a:ext>
            </a:extLst>
          </p:cNvPr>
          <p:cNvSpPr txBox="1">
            <a:spLocks/>
          </p:cNvSpPr>
          <p:nvPr userDrawn="1"/>
        </p:nvSpPr>
        <p:spPr>
          <a:xfrm>
            <a:off x="657225" y="6624654"/>
            <a:ext cx="1776413" cy="99996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Microsoft High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20991095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04">
          <p15:clr>
            <a:srgbClr val="FBAE40"/>
          </p15:clr>
        </p15:guide>
        <p15:guide id="2" pos="3456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_with Hea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E35D3C-86EE-875E-D2A6-669DF7E1C1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2" y="585216"/>
            <a:ext cx="8193024" cy="307777"/>
          </a:xfrm>
        </p:spPr>
        <p:txBody>
          <a:bodyPr/>
          <a:lstStyle>
            <a:lvl1pPr>
              <a:defRPr sz="2000" b="0" i="0">
                <a:solidFill>
                  <a:schemeClr val="accent5">
                    <a:lumMod val="60000"/>
                    <a:lumOff val="40000"/>
                  </a:schemeClr>
                </a:solidFill>
                <a:latin typeface="+mj-lt"/>
                <a:cs typeface="Segoe UI Semibold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2782716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4" pos="778">
          <p15:clr>
            <a:srgbClr val="954F72"/>
          </p15:clr>
        </p15:guide>
        <p15:guide id="5" pos="962">
          <p15:clr>
            <a:srgbClr val="954F72"/>
          </p15:clr>
        </p15:guide>
        <p15:guide id="6" pos="1372">
          <p15:clr>
            <a:srgbClr val="954F72"/>
          </p15:clr>
        </p15:guide>
        <p15:guide id="7" pos="1556">
          <p15:clr>
            <a:srgbClr val="954F72"/>
          </p15:clr>
        </p15:guide>
        <p15:guide id="8" pos="1966">
          <p15:clr>
            <a:srgbClr val="954F72"/>
          </p15:clr>
        </p15:guide>
        <p15:guide id="9" pos="2150">
          <p15:clr>
            <a:srgbClr val="954F72"/>
          </p15:clr>
        </p15:guide>
        <p15:guide id="10" pos="2560">
          <p15:clr>
            <a:srgbClr val="954F72"/>
          </p15:clr>
        </p15:guide>
        <p15:guide id="11" pos="2744">
          <p15:clr>
            <a:srgbClr val="954F72"/>
          </p15:clr>
        </p15:guide>
        <p15:guide id="12" pos="3153">
          <p15:clr>
            <a:srgbClr val="954F72"/>
          </p15:clr>
        </p15:guide>
        <p15:guide id="13" pos="3338">
          <p15:clr>
            <a:srgbClr val="954F72"/>
          </p15:clr>
        </p15:guide>
        <p15:guide id="14" pos="3747">
          <p15:clr>
            <a:srgbClr val="954F72"/>
          </p15:clr>
        </p15:guide>
        <p15:guide id="15" pos="3932">
          <p15:clr>
            <a:srgbClr val="954F72"/>
          </p15:clr>
        </p15:guide>
        <p15:guide id="16" pos="4341">
          <p15:clr>
            <a:srgbClr val="954F72"/>
          </p15:clr>
        </p15:guide>
        <p15:guide id="17" pos="4526">
          <p15:clr>
            <a:srgbClr val="954F72"/>
          </p15:clr>
        </p15:guide>
        <p15:guide id="18" pos="4935">
          <p15:clr>
            <a:srgbClr val="954F72"/>
          </p15:clr>
        </p15:guide>
        <p15:guide id="19" pos="5120">
          <p15:clr>
            <a:srgbClr val="954F72"/>
          </p15:clr>
        </p15:guide>
        <p15:guide id="20" pos="5529">
          <p15:clr>
            <a:srgbClr val="954F72"/>
          </p15:clr>
        </p15:guide>
        <p15:guide id="21" pos="5713">
          <p15:clr>
            <a:srgbClr val="954F72"/>
          </p15:clr>
        </p15:guide>
        <p15:guide id="22" pos="6123">
          <p15:clr>
            <a:srgbClr val="954F72"/>
          </p15:clr>
        </p15:guide>
        <p15:guide id="23" pos="6307">
          <p15:clr>
            <a:srgbClr val="954F72"/>
          </p15:clr>
        </p15:guide>
        <p15:guide id="24" pos="6717">
          <p15:clr>
            <a:srgbClr val="954F72"/>
          </p15:clr>
        </p15:guide>
        <p15:guide id="25" pos="6901">
          <p15:clr>
            <a:srgbClr val="954F72"/>
          </p15:clr>
        </p15:guide>
        <p15:guide id="30" orient="horz" pos="812">
          <p15:clr>
            <a:srgbClr val="954F72"/>
          </p15:clr>
        </p15:guide>
        <p15:guide id="31" orient="horz" pos="996">
          <p15:clr>
            <a:srgbClr val="954F72"/>
          </p15:clr>
        </p15:guide>
        <p15:guide id="32" orient="horz" pos="1440">
          <p15:clr>
            <a:srgbClr val="954F72"/>
          </p15:clr>
        </p15:guide>
        <p15:guide id="33" orient="horz" pos="1624">
          <p15:clr>
            <a:srgbClr val="954F72"/>
          </p15:clr>
        </p15:guide>
        <p15:guide id="34" orient="horz" pos="2067">
          <p15:clr>
            <a:srgbClr val="954F72"/>
          </p15:clr>
        </p15:guide>
        <p15:guide id="35" orient="horz" pos="2252">
          <p15:clr>
            <a:srgbClr val="954F72"/>
          </p15:clr>
        </p15:guide>
        <p15:guide id="36" orient="horz" pos="2695">
          <p15:clr>
            <a:srgbClr val="954F72"/>
          </p15:clr>
        </p15:guide>
        <p15:guide id="37" orient="horz" pos="2880">
          <p15:clr>
            <a:srgbClr val="954F72"/>
          </p15:clr>
        </p15:guide>
        <p15:guide id="38" orient="horz" pos="3323">
          <p15:clr>
            <a:srgbClr val="954F72"/>
          </p15:clr>
        </p15:guide>
        <p15:guide id="39" orient="horz" pos="3507">
          <p15:clr>
            <a:srgbClr val="954F72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Light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FE4DCF1A-29A4-2E3B-ED9B-3B325F865017}"/>
              </a:ext>
            </a:extLst>
          </p:cNvPr>
          <p:cNvGrpSpPr/>
          <p:nvPr userDrawn="1"/>
        </p:nvGrpSpPr>
        <p:grpSpPr>
          <a:xfrm>
            <a:off x="330026" y="6625887"/>
            <a:ext cx="93750" cy="93822"/>
            <a:chOff x="581025" y="6570663"/>
            <a:chExt cx="113437" cy="113524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9A9E4F80-6900-23A5-78B2-0B00C4EB9AA3}"/>
                </a:ext>
              </a:extLst>
            </p:cNvPr>
            <p:cNvSpPr/>
            <p:nvPr userDrawn="1"/>
          </p:nvSpPr>
          <p:spPr>
            <a:xfrm>
              <a:off x="581025" y="6570663"/>
              <a:ext cx="52716" cy="52716"/>
            </a:xfrm>
            <a:prstGeom prst="rect">
              <a:avLst/>
            </a:prstGeom>
            <a:solidFill>
              <a:srgbClr val="2626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82DC88A2-157A-DE0C-13D3-3EC59F7B8EDD}"/>
                </a:ext>
              </a:extLst>
            </p:cNvPr>
            <p:cNvSpPr/>
            <p:nvPr userDrawn="1"/>
          </p:nvSpPr>
          <p:spPr>
            <a:xfrm>
              <a:off x="641746" y="6570663"/>
              <a:ext cx="52716" cy="52716"/>
            </a:xfrm>
            <a:prstGeom prst="rect">
              <a:avLst/>
            </a:prstGeom>
            <a:solidFill>
              <a:srgbClr val="2626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752FDED7-66DA-E874-330A-21C8DD912996}"/>
                </a:ext>
              </a:extLst>
            </p:cNvPr>
            <p:cNvSpPr/>
            <p:nvPr userDrawn="1"/>
          </p:nvSpPr>
          <p:spPr>
            <a:xfrm>
              <a:off x="581025" y="6631471"/>
              <a:ext cx="52716" cy="52716"/>
            </a:xfrm>
            <a:prstGeom prst="rect">
              <a:avLst/>
            </a:prstGeom>
            <a:solidFill>
              <a:srgbClr val="2626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AA3C3B20-D0DE-DDA9-EC1B-84A39A731973}"/>
                </a:ext>
              </a:extLst>
            </p:cNvPr>
            <p:cNvSpPr/>
            <p:nvPr userDrawn="1"/>
          </p:nvSpPr>
          <p:spPr>
            <a:xfrm>
              <a:off x="641746" y="6631471"/>
              <a:ext cx="52716" cy="52716"/>
            </a:xfrm>
            <a:prstGeom prst="rect">
              <a:avLst/>
            </a:prstGeom>
            <a:solidFill>
              <a:srgbClr val="2626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9" name="Title 1">
            <a:extLst>
              <a:ext uri="{FF2B5EF4-FFF2-40B4-BE49-F238E27FC236}">
                <a16:creationId xmlns:a16="http://schemas.microsoft.com/office/drawing/2014/main" id="{469ED91E-11E4-48D5-BDD4-AC7093F4FC4F}"/>
              </a:ext>
            </a:extLst>
          </p:cNvPr>
          <p:cNvSpPr txBox="1">
            <a:spLocks/>
          </p:cNvSpPr>
          <p:nvPr userDrawn="1"/>
        </p:nvSpPr>
        <p:spPr>
          <a:xfrm>
            <a:off x="657225" y="6624654"/>
            <a:ext cx="1776413" cy="99996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Segoe UI Variable Text" pitchFamily="2" charset="0"/>
                <a:ea typeface="+mj-ea"/>
                <a:cs typeface="Segoe Sans Display" pitchFamily="2" charset="0"/>
              </a:rPr>
              <a:t>Microsoft High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33881786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04">
          <p15:clr>
            <a:srgbClr val="FBAE40"/>
          </p15:clr>
        </p15:guide>
        <p15:guide id="2" pos="345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Dark">
    <p:bg>
      <p:bgPr>
        <a:solidFill>
          <a:schemeClr val="tx1">
            <a:lumMod val="95000"/>
            <a:lumOff val="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99C5B8E3-D812-8C13-6510-ED60E99D5FAF}"/>
              </a:ext>
            </a:extLst>
          </p:cNvPr>
          <p:cNvGrpSpPr/>
          <p:nvPr userDrawn="1"/>
        </p:nvGrpSpPr>
        <p:grpSpPr>
          <a:xfrm>
            <a:off x="594360" y="6627741"/>
            <a:ext cx="93750" cy="93822"/>
            <a:chOff x="330026" y="6625887"/>
            <a:chExt cx="93750" cy="93822"/>
          </a:xfrm>
          <a:solidFill>
            <a:schemeClr val="bg1"/>
          </a:solidFill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A9DB848C-00C4-187C-5A08-B11A5C19DA93}"/>
                </a:ext>
              </a:extLst>
            </p:cNvPr>
            <p:cNvSpPr/>
            <p:nvPr userDrawn="1"/>
          </p:nvSpPr>
          <p:spPr>
            <a:xfrm>
              <a:off x="330026" y="6625887"/>
              <a:ext cx="43567" cy="435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559D30EF-F69F-7653-5420-A392A0A2270A}"/>
                </a:ext>
              </a:extLst>
            </p:cNvPr>
            <p:cNvSpPr/>
            <p:nvPr userDrawn="1"/>
          </p:nvSpPr>
          <p:spPr>
            <a:xfrm>
              <a:off x="380209" y="6625887"/>
              <a:ext cx="43567" cy="435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2456E453-91DC-9926-E7C1-8D838A0BDFC8}"/>
                </a:ext>
              </a:extLst>
            </p:cNvPr>
            <p:cNvSpPr/>
            <p:nvPr userDrawn="1"/>
          </p:nvSpPr>
          <p:spPr>
            <a:xfrm>
              <a:off x="330026" y="6676142"/>
              <a:ext cx="43567" cy="435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DA95D22-3F2B-ED46-9A6F-89E2F92ED8A7}"/>
                </a:ext>
              </a:extLst>
            </p:cNvPr>
            <p:cNvSpPr/>
            <p:nvPr userDrawn="1"/>
          </p:nvSpPr>
          <p:spPr>
            <a:xfrm>
              <a:off x="380209" y="6676142"/>
              <a:ext cx="43567" cy="435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10" name="Title 1">
            <a:extLst>
              <a:ext uri="{FF2B5EF4-FFF2-40B4-BE49-F238E27FC236}">
                <a16:creationId xmlns:a16="http://schemas.microsoft.com/office/drawing/2014/main" id="{20DB4EE5-87D6-9300-C269-CD8D3E3D799D}"/>
              </a:ext>
            </a:extLst>
          </p:cNvPr>
          <p:cNvSpPr txBox="1">
            <a:spLocks/>
          </p:cNvSpPr>
          <p:nvPr userDrawn="1"/>
        </p:nvSpPr>
        <p:spPr>
          <a:xfrm>
            <a:off x="809625" y="6624654"/>
            <a:ext cx="1624013" cy="99996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Microsoft High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62559291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304">
          <p15:clr>
            <a:srgbClr val="FBAE40"/>
          </p15:clr>
        </p15:guide>
        <p15:guide id="2" pos="345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5FFBA4-915B-B829-B819-2E449FFA4F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11D3A5F-0027-117D-F9AF-2E9245B5D55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13CC22E-75A4-8CD3-1843-F8B636BF73C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17E10E8-E600-8013-20C6-FFF1893DAD2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19D2501-50CA-02E6-1C8B-B388A4C1BB9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25EE9ED-A204-6402-C231-751B360CE3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1CAABC-D95E-4838-8CE2-FC16B5FC7DC6}" type="datetimeFigureOut">
              <a:rPr lang="en-US" smtClean="0"/>
              <a:t>4/17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EE10275-EC2B-AF03-96EA-47E2B7697A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81C3D4B-4D7F-81DB-D513-CB808BAF83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7F255F-3C42-4CFA-923C-99DFF8B163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71734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95EDF71-8B1A-4853-B665-11AE65F3F4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Microsoft Confidential</a:t>
            </a:r>
          </a:p>
        </p:txBody>
      </p:sp>
    </p:spTree>
    <p:extLst>
      <p:ext uri="{BB962C8B-B14F-4D97-AF65-F5344CB8AC3E}">
        <p14:creationId xmlns:p14="http://schemas.microsoft.com/office/powerpoint/2010/main" val="74743919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2-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86390" y="1472037"/>
            <a:ext cx="5365148" cy="726353"/>
          </a:xfrm>
        </p:spPr>
        <p:txBody>
          <a:bodyPr wrap="square">
            <a:spAutoFit/>
          </a:bodyPr>
          <a:lstStyle>
            <a:lvl1pPr marL="0" indent="0">
              <a:buNone/>
              <a:defRPr>
                <a:solidFill>
                  <a:srgbClr val="505050"/>
                </a:solidFill>
              </a:defRPr>
            </a:lvl1pPr>
            <a:lvl2pPr marL="228600" indent="0">
              <a:buNone/>
              <a:defRPr>
                <a:solidFill>
                  <a:srgbClr val="505050"/>
                </a:solidFill>
              </a:defRPr>
            </a:lvl2pPr>
            <a:lvl3pPr marL="457200" indent="0">
              <a:buNone/>
              <a:defRPr>
                <a:solidFill>
                  <a:srgbClr val="505050"/>
                </a:solidFill>
              </a:defRPr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First level (Segoe UI, size 16pt)</a:t>
            </a:r>
          </a:p>
          <a:p>
            <a:pPr lvl="1"/>
            <a:r>
              <a:rPr lang="en-US"/>
              <a:t>Second level (Segoe UI, size 14pt)</a:t>
            </a:r>
          </a:p>
          <a:p>
            <a:pPr lvl="2"/>
            <a:r>
              <a:rPr lang="en-US"/>
              <a:t>Third level (Segoe UI, size 12pt)</a:t>
            </a:r>
          </a:p>
        </p:txBody>
      </p:sp>
      <p:sp>
        <p:nvSpPr>
          <p:cNvPr id="26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6242050" y="1472037"/>
            <a:ext cx="5360670" cy="726353"/>
          </a:xfrm>
        </p:spPr>
        <p:txBody>
          <a:bodyPr/>
          <a:lstStyle>
            <a:lvl1pPr>
              <a:defRPr>
                <a:solidFill>
                  <a:srgbClr val="505050"/>
                </a:solidFill>
              </a:defRPr>
            </a:lvl1pPr>
            <a:lvl2pPr>
              <a:defRPr>
                <a:solidFill>
                  <a:srgbClr val="505050"/>
                </a:solidFill>
              </a:defRPr>
            </a:lvl2pPr>
            <a:lvl3pPr>
              <a:defRPr>
                <a:solidFill>
                  <a:srgbClr val="505050"/>
                </a:solidFill>
              </a:defRPr>
            </a:lvl3pPr>
          </a:lstStyle>
          <a:p>
            <a:pPr lvl="0"/>
            <a:r>
              <a:rPr lang="en-US"/>
              <a:t>First level (Segoe UI, size 16pt)</a:t>
            </a:r>
          </a:p>
          <a:p>
            <a:pPr lvl="1"/>
            <a:r>
              <a:rPr lang="en-US"/>
              <a:t>Second level (Segoe UI, size 14pt)</a:t>
            </a:r>
          </a:p>
          <a:p>
            <a:pPr lvl="2"/>
            <a:r>
              <a:rPr lang="en-US"/>
              <a:t>Third level (Segoe UI, size 12pt)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88BB4F3-12F0-4629-9B5B-943F33BA91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585216"/>
            <a:ext cx="5363275" cy="246221"/>
          </a:xfrm>
        </p:spPr>
        <p:txBody>
          <a:bodyPr/>
          <a:lstStyle>
            <a:lvl1pPr>
              <a:defRPr>
                <a:solidFill>
                  <a:srgbClr val="505050"/>
                </a:solidFill>
              </a:defRPr>
            </a:lvl1pPr>
          </a:lstStyle>
          <a:p>
            <a:r>
              <a:rPr lang="en-US"/>
              <a:t>Title (Segoe UI, size 16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4141919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C35E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C35EA4"/>
          </p15:clr>
        </p15:guide>
        <p15:guide id="17" pos="3932">
          <p15:clr>
            <a:srgbClr val="C35E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C35EA4"/>
          </p15:clr>
        </p15:guide>
        <p15:guide id="21" pos="5120">
          <p15:clr>
            <a:srgbClr val="C35E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20">
          <p15:clr>
            <a:srgbClr val="5ACBF0"/>
          </p15:clr>
        </p15:guide>
        <p15:guide id="31" pos="2743">
          <p15:clr>
            <a:srgbClr val="C35EA4"/>
          </p15:clr>
        </p15:guide>
        <p15:guide id="32" orient="horz" pos="1439">
          <p15:clr>
            <a:srgbClr val="C35EA4"/>
          </p15:clr>
        </p15:guide>
        <p15:guide id="33" orient="horz" pos="1625">
          <p15:clr>
            <a:srgbClr val="C35EA4"/>
          </p15:clr>
        </p15:guide>
        <p15:guide id="35" orient="horz" pos="2250">
          <p15:clr>
            <a:srgbClr val="C35EA4"/>
          </p15:clr>
        </p15:guide>
        <p15:guide id="36" orient="horz" pos="2066">
          <p15:clr>
            <a:srgbClr val="C35EA4"/>
          </p15:clr>
        </p15:guide>
        <p15:guide id="37" orient="horz" pos="2697">
          <p15:clr>
            <a:srgbClr val="C35EA4"/>
          </p15:clr>
        </p15:guide>
        <p15:guide id="38" orient="horz" pos="2880">
          <p15:clr>
            <a:srgbClr val="C35EA4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bg>
      <p:bgPr>
        <a:solidFill>
          <a:srgbClr val="F9F9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AAD849-7CFE-4AF7-A7C5-6BBD50C88C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7A44A55-E78C-4A8B-2013-2C13426A7553}"/>
              </a:ext>
            </a:extLst>
          </p:cNvPr>
          <p:cNvSpPr txBox="1"/>
          <p:nvPr userDrawn="1"/>
        </p:nvSpPr>
        <p:spPr>
          <a:xfrm>
            <a:off x="584200" y="6473666"/>
            <a:ext cx="1676741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200" normalizeH="0" baseline="0" noProof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Segoe Sans Display" pitchFamily="2" charset="0"/>
                <a:ea typeface="+mn-ea"/>
                <a:cs typeface="Segoe Sans Display" pitchFamily="2" charset="0"/>
              </a:rPr>
              <a:t>MICROSOFT CONFIDENTIAL</a:t>
            </a:r>
          </a:p>
        </p:txBody>
      </p:sp>
    </p:spTree>
    <p:extLst>
      <p:ext uri="{BB962C8B-B14F-4D97-AF65-F5344CB8AC3E}">
        <p14:creationId xmlns:p14="http://schemas.microsoft.com/office/powerpoint/2010/main" val="32084819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AAD849-7CFE-4AF7-A7C5-6BBD50C88C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4" y="457200"/>
            <a:ext cx="11018520" cy="55399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5588432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o not remove" hidden="1">
            <a:extLst>
              <a:ext uri="{FF2B5EF4-FFF2-40B4-BE49-F238E27FC236}">
                <a16:creationId xmlns:a16="http://schemas.microsoft.com/office/drawing/2014/main" id="{5F61E96A-1123-E346-A1F0-85896A0566F9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0583" cy="10583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Display" pitchFamily="2" charset="0"/>
              <a:ea typeface="+mn-ea"/>
              <a:cs typeface="+mn-cs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60" y="1591"/>
          <a:ext cx="155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60" y="1591"/>
                        <a:ext cx="155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562711" y="1508400"/>
            <a:ext cx="11068062" cy="138512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3231907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ocument blank slide with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">
            <a:extLst>
              <a:ext uri="{FF2B5EF4-FFF2-40B4-BE49-F238E27FC236}">
                <a16:creationId xmlns:a16="http://schemas.microsoft.com/office/drawing/2014/main" id="{EAD47323-4439-434B-BE81-49E2471F59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49128" y="6516660"/>
            <a:ext cx="158750" cy="12824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lnSpc>
                <a:spcPct val="100000"/>
              </a:lnSpc>
              <a:spcBef>
                <a:spcPts val="0"/>
              </a:spcBef>
              <a:defRPr sz="667" b="0" i="0" spc="0" baseline="0">
                <a:solidFill>
                  <a:srgbClr val="1B1B1B"/>
                </a:solidFill>
                <a:latin typeface="Segoe Sans Display" pitchFamily="2" charset="0"/>
                <a:cs typeface="Segoe Sans Display" pitchFamily="2" charset="0"/>
              </a:defRPr>
            </a:lvl1pPr>
          </a:lstStyle>
          <a:p>
            <a:pPr marL="21164" defTabSz="761940"/>
            <a:fld id="{81D60167-4931-47E6-BA6A-407CBD079E47}" type="slidenum">
              <a:rPr lang="en-US" smtClean="0"/>
              <a:pPr marL="21164" defTabSz="761940"/>
              <a:t>‹#›</a:t>
            </a:fld>
            <a:endParaRPr lang="en-US"/>
          </a:p>
        </p:txBody>
      </p:sp>
      <p:sp>
        <p:nvSpPr>
          <p:cNvPr id="9" name="Footer note">
            <a:extLst>
              <a:ext uri="{FF2B5EF4-FFF2-40B4-BE49-F238E27FC236}">
                <a16:creationId xmlns:a16="http://schemas.microsoft.com/office/drawing/2014/main" id="{E6FA3CEB-A811-492F-8636-B2C5A8D47DF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56730" y="6516660"/>
            <a:ext cx="2707080" cy="12824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lnSpc>
                <a:spcPct val="100000"/>
              </a:lnSpc>
              <a:spcBef>
                <a:spcPts val="0"/>
              </a:spcBef>
              <a:defRPr sz="667" b="0" i="0" spc="0" baseline="0">
                <a:solidFill>
                  <a:srgbClr val="1B1B1B"/>
                </a:solidFill>
                <a:latin typeface="Segoe Sans Display" pitchFamily="2" charset="0"/>
                <a:cs typeface="Segoe Sans Display" pitchFamily="2" charset="0"/>
              </a:defRPr>
            </a:lvl1pPr>
          </a:lstStyle>
          <a:p>
            <a:pPr marL="10583" defTabSz="761940"/>
            <a:r>
              <a:rPr lang="en-US"/>
              <a:t>Windows execution guidelines / Template / Section name</a:t>
            </a:r>
          </a:p>
        </p:txBody>
      </p:sp>
    </p:spTree>
    <p:extLst>
      <p:ext uri="{BB962C8B-B14F-4D97-AF65-F5344CB8AC3E}">
        <p14:creationId xmlns:p14="http://schemas.microsoft.com/office/powerpoint/2010/main" val="253266315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4" y="457200"/>
            <a:ext cx="11018520" cy="55399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8A212C2-8B30-4835-8711-AA981B6CFBE1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84201" y="1435101"/>
            <a:ext cx="11018838" cy="161249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9531485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Act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blurry image of a person&#10;&#10;Description automatically generated">
            <a:extLst>
              <a:ext uri="{FF2B5EF4-FFF2-40B4-BE49-F238E27FC236}">
                <a16:creationId xmlns:a16="http://schemas.microsoft.com/office/drawing/2014/main" id="{3FD6613A-2DBD-36AD-57C9-799CC80EF9F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3" y="0"/>
            <a:ext cx="1219137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59631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725">
          <p15:clr>
            <a:srgbClr val="FBAE40"/>
          </p15:clr>
        </p15:guide>
        <p15:guide id="2" orient="horz" pos="1863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Dark">
    <p:bg>
      <p:bgPr>
        <a:solidFill>
          <a:schemeClr val="tx1">
            <a:lumMod val="95000"/>
            <a:lumOff val="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">
            <a:extLst>
              <a:ext uri="{FF2B5EF4-FFF2-40B4-BE49-F238E27FC236}">
                <a16:creationId xmlns:a16="http://schemas.microsoft.com/office/drawing/2014/main" id="{48C8B1F9-71DC-AE05-5027-304462D26356}"/>
              </a:ext>
            </a:extLst>
          </p:cNvPr>
          <p:cNvSpPr/>
          <p:nvPr userDrawn="1"/>
        </p:nvSpPr>
        <p:spPr>
          <a:xfrm>
            <a:off x="330028" y="6487247"/>
            <a:ext cx="11531947" cy="0"/>
          </a:xfrm>
          <a:prstGeom prst="line">
            <a:avLst/>
          </a:prstGeom>
          <a:ln w="6350">
            <a:solidFill>
              <a:schemeClr val="bg1">
                <a:lumMod val="65000"/>
              </a:schemeClr>
            </a:solidFill>
            <a:miter lim="400000"/>
          </a:ln>
        </p:spPr>
        <p:txBody>
          <a:bodyPr lIns="23813" tIns="23813" rIns="23813" bIns="23813" anchor="ctr"/>
          <a:lstStyle/>
          <a:p>
            <a:endParaRPr sz="844"/>
          </a:p>
        </p:txBody>
      </p:sp>
      <p:sp>
        <p:nvSpPr>
          <p:cNvPr id="5" name="06 01 — 2020">
            <a:extLst>
              <a:ext uri="{FF2B5EF4-FFF2-40B4-BE49-F238E27FC236}">
                <a16:creationId xmlns:a16="http://schemas.microsoft.com/office/drawing/2014/main" id="{7909CA28-1794-538E-41D2-9AE53C4FF3C5}"/>
              </a:ext>
            </a:extLst>
          </p:cNvPr>
          <p:cNvSpPr txBox="1"/>
          <p:nvPr userDrawn="1"/>
        </p:nvSpPr>
        <p:spPr>
          <a:xfrm>
            <a:off x="11764575" y="6623380"/>
            <a:ext cx="97399" cy="8784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>
            <a:spAutoFit/>
          </a:bodyPr>
          <a:lstStyle>
            <a:lvl1pPr defTabSz="825500">
              <a:lnSpc>
                <a:spcPct val="110000"/>
              </a:lnSpc>
              <a:spcBef>
                <a:spcPts val="0"/>
              </a:spcBef>
              <a:defRPr sz="1200" spc="24">
                <a:solidFill>
                  <a:srgbClr val="929292"/>
                </a:solidFill>
                <a:latin typeface="Segoe Pro"/>
                <a:ea typeface="Segoe Pro"/>
                <a:cs typeface="Segoe Pro"/>
                <a:sym typeface="Segoe Pro"/>
              </a:defRPr>
            </a:lvl1pPr>
          </a:lstStyle>
          <a:p>
            <a:pPr algn="r"/>
            <a:fld id="{86CB4B4D-7CA3-9044-876B-883B54F8677D}" type="slidenum">
              <a:rPr lang="en-US" sz="563" smtClean="0">
                <a:solidFill>
                  <a:schemeClr val="bg1">
                    <a:lumMod val="65000"/>
                  </a:schemeClr>
                </a:solidFill>
                <a:latin typeface="Segoe UI" panose="020B0502040204020203" pitchFamily="34" charset="0"/>
              </a:rPr>
              <a:pPr algn="r"/>
              <a:t>‹#›</a:t>
            </a:fld>
            <a:endParaRPr sz="563">
              <a:solidFill>
                <a:schemeClr val="bg1">
                  <a:lumMod val="65000"/>
                </a:schemeClr>
              </a:solidFill>
              <a:latin typeface="Segoe UI" panose="020B0502040204020203" pitchFamily="34" charset="0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B00123BB-8A4D-9A19-8271-8455B0775882}"/>
              </a:ext>
            </a:extLst>
          </p:cNvPr>
          <p:cNvGrpSpPr/>
          <p:nvPr userDrawn="1"/>
        </p:nvGrpSpPr>
        <p:grpSpPr>
          <a:xfrm>
            <a:off x="330026" y="6625887"/>
            <a:ext cx="93750" cy="93822"/>
            <a:chOff x="330026" y="6625887"/>
            <a:chExt cx="93750" cy="93822"/>
          </a:xfrm>
          <a:solidFill>
            <a:schemeClr val="bg1">
              <a:lumMod val="65000"/>
            </a:schemeClr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55FE8E8-FD47-AFEA-3132-812BC9F8D768}"/>
                </a:ext>
              </a:extLst>
            </p:cNvPr>
            <p:cNvSpPr/>
            <p:nvPr userDrawn="1"/>
          </p:nvSpPr>
          <p:spPr>
            <a:xfrm>
              <a:off x="330026" y="6625887"/>
              <a:ext cx="43567" cy="435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DAEA2BD5-B3B4-100D-FD1D-349CC2B4EAE9}"/>
                </a:ext>
              </a:extLst>
            </p:cNvPr>
            <p:cNvSpPr/>
            <p:nvPr userDrawn="1"/>
          </p:nvSpPr>
          <p:spPr>
            <a:xfrm>
              <a:off x="380209" y="6625887"/>
              <a:ext cx="43567" cy="435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DEF2B3E-6C91-EA48-6682-522B7A0C5AB3}"/>
                </a:ext>
              </a:extLst>
            </p:cNvPr>
            <p:cNvSpPr/>
            <p:nvPr userDrawn="1"/>
          </p:nvSpPr>
          <p:spPr>
            <a:xfrm>
              <a:off x="330026" y="6676142"/>
              <a:ext cx="43567" cy="435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9452379F-B230-E92F-75B8-B0F758EAA036}"/>
                </a:ext>
              </a:extLst>
            </p:cNvPr>
            <p:cNvSpPr/>
            <p:nvPr userDrawn="1"/>
          </p:nvSpPr>
          <p:spPr>
            <a:xfrm>
              <a:off x="380209" y="6676142"/>
              <a:ext cx="43567" cy="435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7" name="Footer Placeholder 15">
            <a:extLst>
              <a:ext uri="{FF2B5EF4-FFF2-40B4-BE49-F238E27FC236}">
                <a16:creationId xmlns:a16="http://schemas.microsoft.com/office/drawing/2014/main" id="{DE53E81C-FD33-5133-2684-DA3D388809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62390" y="6578648"/>
            <a:ext cx="1923881" cy="187367"/>
          </a:xfrm>
        </p:spPr>
        <p:txBody>
          <a:bodyPr/>
          <a:lstStyle>
            <a:lvl1pPr algn="l">
              <a:defRPr sz="600">
                <a:solidFill>
                  <a:schemeClr val="bg1">
                    <a:lumMod val="65000"/>
                  </a:schemeClr>
                </a:solidFill>
                <a:latin typeface="Segoe UI" panose="020B0502040204020203" pitchFamily="34" charset="0"/>
              </a:defRPr>
            </a:lvl1pPr>
          </a:lstStyle>
          <a:p>
            <a:pPr>
              <a:defRPr/>
            </a:pPr>
            <a:endParaRPr lang="en-US"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22621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04">
          <p15:clr>
            <a:srgbClr val="FBAE40"/>
          </p15:clr>
        </p15:guide>
        <p15:guide id="2" pos="3456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Light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FE4DCF1A-29A4-2E3B-ED9B-3B325F865017}"/>
              </a:ext>
            </a:extLst>
          </p:cNvPr>
          <p:cNvGrpSpPr/>
          <p:nvPr userDrawn="1"/>
        </p:nvGrpSpPr>
        <p:grpSpPr>
          <a:xfrm>
            <a:off x="330026" y="6625887"/>
            <a:ext cx="93750" cy="93822"/>
            <a:chOff x="581025" y="6570663"/>
            <a:chExt cx="113437" cy="113524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9A9E4F80-6900-23A5-78B2-0B00C4EB9AA3}"/>
                </a:ext>
              </a:extLst>
            </p:cNvPr>
            <p:cNvSpPr/>
            <p:nvPr userDrawn="1"/>
          </p:nvSpPr>
          <p:spPr>
            <a:xfrm>
              <a:off x="581025" y="6570663"/>
              <a:ext cx="52716" cy="52716"/>
            </a:xfrm>
            <a:prstGeom prst="rect">
              <a:avLst/>
            </a:prstGeom>
            <a:solidFill>
              <a:srgbClr val="2626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82DC88A2-157A-DE0C-13D3-3EC59F7B8EDD}"/>
                </a:ext>
              </a:extLst>
            </p:cNvPr>
            <p:cNvSpPr/>
            <p:nvPr userDrawn="1"/>
          </p:nvSpPr>
          <p:spPr>
            <a:xfrm>
              <a:off x="641746" y="6570663"/>
              <a:ext cx="52716" cy="52716"/>
            </a:xfrm>
            <a:prstGeom prst="rect">
              <a:avLst/>
            </a:prstGeom>
            <a:solidFill>
              <a:srgbClr val="2626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752FDED7-66DA-E874-330A-21C8DD912996}"/>
                </a:ext>
              </a:extLst>
            </p:cNvPr>
            <p:cNvSpPr/>
            <p:nvPr userDrawn="1"/>
          </p:nvSpPr>
          <p:spPr>
            <a:xfrm>
              <a:off x="581025" y="6631471"/>
              <a:ext cx="52716" cy="52716"/>
            </a:xfrm>
            <a:prstGeom prst="rect">
              <a:avLst/>
            </a:prstGeom>
            <a:solidFill>
              <a:srgbClr val="2626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AA3C3B20-D0DE-DDA9-EC1B-84A39A731973}"/>
                </a:ext>
              </a:extLst>
            </p:cNvPr>
            <p:cNvSpPr/>
            <p:nvPr userDrawn="1"/>
          </p:nvSpPr>
          <p:spPr>
            <a:xfrm>
              <a:off x="641746" y="6631471"/>
              <a:ext cx="52716" cy="52716"/>
            </a:xfrm>
            <a:prstGeom prst="rect">
              <a:avLst/>
            </a:prstGeom>
            <a:solidFill>
              <a:srgbClr val="2626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9" name="Title 1">
            <a:extLst>
              <a:ext uri="{FF2B5EF4-FFF2-40B4-BE49-F238E27FC236}">
                <a16:creationId xmlns:a16="http://schemas.microsoft.com/office/drawing/2014/main" id="{469ED91E-11E4-48D5-BDD4-AC7093F4FC4F}"/>
              </a:ext>
            </a:extLst>
          </p:cNvPr>
          <p:cNvSpPr txBox="1">
            <a:spLocks/>
          </p:cNvSpPr>
          <p:nvPr userDrawn="1"/>
        </p:nvSpPr>
        <p:spPr>
          <a:xfrm>
            <a:off x="657225" y="6624654"/>
            <a:ext cx="1776413" cy="99996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Microsoft High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7643805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04">
          <p15:clr>
            <a:srgbClr val="FBAE40"/>
          </p15:clr>
        </p15:guide>
        <p15:guide id="2" pos="3456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1B6226-C0C1-A5A7-13AB-764039B7E7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7ACE6C6-A6A5-09C1-20DD-4E28AE5090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1CAABC-D95E-4838-8CE2-FC16B5FC7DC6}" type="datetimeFigureOut">
              <a:rPr lang="en-US" smtClean="0"/>
              <a:t>4/17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8559465-417F-E54C-C09A-4BDCFA6875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CCD8E55-EC55-F8EA-2367-42E7F2B4DC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7F255F-3C42-4CFA-923C-99DFF8B163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30098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_with Hea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E35D3C-86EE-875E-D2A6-669DF7E1C1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2" y="585216"/>
            <a:ext cx="8193024" cy="307777"/>
          </a:xfrm>
        </p:spPr>
        <p:txBody>
          <a:bodyPr/>
          <a:lstStyle>
            <a:lvl1pPr>
              <a:defRPr sz="2000" b="0" i="0">
                <a:solidFill>
                  <a:schemeClr val="accent5">
                    <a:lumMod val="60000"/>
                    <a:lumOff val="40000"/>
                  </a:schemeClr>
                </a:solidFill>
                <a:latin typeface="+mj-lt"/>
                <a:cs typeface="Segoe UI Semibold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7200314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4" pos="778">
          <p15:clr>
            <a:srgbClr val="954F72"/>
          </p15:clr>
        </p15:guide>
        <p15:guide id="5" pos="962">
          <p15:clr>
            <a:srgbClr val="954F72"/>
          </p15:clr>
        </p15:guide>
        <p15:guide id="6" pos="1372">
          <p15:clr>
            <a:srgbClr val="954F72"/>
          </p15:clr>
        </p15:guide>
        <p15:guide id="7" pos="1556">
          <p15:clr>
            <a:srgbClr val="954F72"/>
          </p15:clr>
        </p15:guide>
        <p15:guide id="8" pos="1966">
          <p15:clr>
            <a:srgbClr val="954F72"/>
          </p15:clr>
        </p15:guide>
        <p15:guide id="9" pos="2150">
          <p15:clr>
            <a:srgbClr val="954F72"/>
          </p15:clr>
        </p15:guide>
        <p15:guide id="10" pos="2560">
          <p15:clr>
            <a:srgbClr val="954F72"/>
          </p15:clr>
        </p15:guide>
        <p15:guide id="11" pos="2744">
          <p15:clr>
            <a:srgbClr val="954F72"/>
          </p15:clr>
        </p15:guide>
        <p15:guide id="12" pos="3153">
          <p15:clr>
            <a:srgbClr val="954F72"/>
          </p15:clr>
        </p15:guide>
        <p15:guide id="13" pos="3338">
          <p15:clr>
            <a:srgbClr val="954F72"/>
          </p15:clr>
        </p15:guide>
        <p15:guide id="14" pos="3747">
          <p15:clr>
            <a:srgbClr val="954F72"/>
          </p15:clr>
        </p15:guide>
        <p15:guide id="15" pos="3932">
          <p15:clr>
            <a:srgbClr val="954F72"/>
          </p15:clr>
        </p15:guide>
        <p15:guide id="16" pos="4341">
          <p15:clr>
            <a:srgbClr val="954F72"/>
          </p15:clr>
        </p15:guide>
        <p15:guide id="17" pos="4526">
          <p15:clr>
            <a:srgbClr val="954F72"/>
          </p15:clr>
        </p15:guide>
        <p15:guide id="18" pos="4935">
          <p15:clr>
            <a:srgbClr val="954F72"/>
          </p15:clr>
        </p15:guide>
        <p15:guide id="19" pos="5120">
          <p15:clr>
            <a:srgbClr val="954F72"/>
          </p15:clr>
        </p15:guide>
        <p15:guide id="20" pos="5529">
          <p15:clr>
            <a:srgbClr val="954F72"/>
          </p15:clr>
        </p15:guide>
        <p15:guide id="21" pos="5713">
          <p15:clr>
            <a:srgbClr val="954F72"/>
          </p15:clr>
        </p15:guide>
        <p15:guide id="22" pos="6123">
          <p15:clr>
            <a:srgbClr val="954F72"/>
          </p15:clr>
        </p15:guide>
        <p15:guide id="23" pos="6307">
          <p15:clr>
            <a:srgbClr val="954F72"/>
          </p15:clr>
        </p15:guide>
        <p15:guide id="24" pos="6717">
          <p15:clr>
            <a:srgbClr val="954F72"/>
          </p15:clr>
        </p15:guide>
        <p15:guide id="25" pos="6901">
          <p15:clr>
            <a:srgbClr val="954F72"/>
          </p15:clr>
        </p15:guide>
        <p15:guide id="30" orient="horz" pos="812">
          <p15:clr>
            <a:srgbClr val="954F72"/>
          </p15:clr>
        </p15:guide>
        <p15:guide id="31" orient="horz" pos="996">
          <p15:clr>
            <a:srgbClr val="954F72"/>
          </p15:clr>
        </p15:guide>
        <p15:guide id="32" orient="horz" pos="1440">
          <p15:clr>
            <a:srgbClr val="954F72"/>
          </p15:clr>
        </p15:guide>
        <p15:guide id="33" orient="horz" pos="1624">
          <p15:clr>
            <a:srgbClr val="954F72"/>
          </p15:clr>
        </p15:guide>
        <p15:guide id="34" orient="horz" pos="2067">
          <p15:clr>
            <a:srgbClr val="954F72"/>
          </p15:clr>
        </p15:guide>
        <p15:guide id="35" orient="horz" pos="2252">
          <p15:clr>
            <a:srgbClr val="954F72"/>
          </p15:clr>
        </p15:guide>
        <p15:guide id="36" orient="horz" pos="2695">
          <p15:clr>
            <a:srgbClr val="954F72"/>
          </p15:clr>
        </p15:guide>
        <p15:guide id="37" orient="horz" pos="2880">
          <p15:clr>
            <a:srgbClr val="954F72"/>
          </p15:clr>
        </p15:guide>
        <p15:guide id="38" orient="horz" pos="3323">
          <p15:clr>
            <a:srgbClr val="954F72"/>
          </p15:clr>
        </p15:guide>
        <p15:guide id="39" orient="horz" pos="3507">
          <p15:clr>
            <a:srgbClr val="954F72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Light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FE4DCF1A-29A4-2E3B-ED9B-3B325F865017}"/>
              </a:ext>
            </a:extLst>
          </p:cNvPr>
          <p:cNvGrpSpPr/>
          <p:nvPr userDrawn="1"/>
        </p:nvGrpSpPr>
        <p:grpSpPr>
          <a:xfrm>
            <a:off x="330026" y="6625887"/>
            <a:ext cx="93750" cy="93822"/>
            <a:chOff x="581025" y="6570663"/>
            <a:chExt cx="113437" cy="113524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9A9E4F80-6900-23A5-78B2-0B00C4EB9AA3}"/>
                </a:ext>
              </a:extLst>
            </p:cNvPr>
            <p:cNvSpPr/>
            <p:nvPr userDrawn="1"/>
          </p:nvSpPr>
          <p:spPr>
            <a:xfrm>
              <a:off x="581025" y="6570663"/>
              <a:ext cx="52716" cy="52716"/>
            </a:xfrm>
            <a:prstGeom prst="rect">
              <a:avLst/>
            </a:prstGeom>
            <a:solidFill>
              <a:srgbClr val="2626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82DC88A2-157A-DE0C-13D3-3EC59F7B8EDD}"/>
                </a:ext>
              </a:extLst>
            </p:cNvPr>
            <p:cNvSpPr/>
            <p:nvPr userDrawn="1"/>
          </p:nvSpPr>
          <p:spPr>
            <a:xfrm>
              <a:off x="641746" y="6570663"/>
              <a:ext cx="52716" cy="52716"/>
            </a:xfrm>
            <a:prstGeom prst="rect">
              <a:avLst/>
            </a:prstGeom>
            <a:solidFill>
              <a:srgbClr val="2626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752FDED7-66DA-E874-330A-21C8DD912996}"/>
                </a:ext>
              </a:extLst>
            </p:cNvPr>
            <p:cNvSpPr/>
            <p:nvPr userDrawn="1"/>
          </p:nvSpPr>
          <p:spPr>
            <a:xfrm>
              <a:off x="581025" y="6631471"/>
              <a:ext cx="52716" cy="52716"/>
            </a:xfrm>
            <a:prstGeom prst="rect">
              <a:avLst/>
            </a:prstGeom>
            <a:solidFill>
              <a:srgbClr val="2626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AA3C3B20-D0DE-DDA9-EC1B-84A39A731973}"/>
                </a:ext>
              </a:extLst>
            </p:cNvPr>
            <p:cNvSpPr/>
            <p:nvPr userDrawn="1"/>
          </p:nvSpPr>
          <p:spPr>
            <a:xfrm>
              <a:off x="641746" y="6631471"/>
              <a:ext cx="52716" cy="52716"/>
            </a:xfrm>
            <a:prstGeom prst="rect">
              <a:avLst/>
            </a:prstGeom>
            <a:solidFill>
              <a:srgbClr val="2626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9" name="Title 1">
            <a:extLst>
              <a:ext uri="{FF2B5EF4-FFF2-40B4-BE49-F238E27FC236}">
                <a16:creationId xmlns:a16="http://schemas.microsoft.com/office/drawing/2014/main" id="{469ED91E-11E4-48D5-BDD4-AC7093F4FC4F}"/>
              </a:ext>
            </a:extLst>
          </p:cNvPr>
          <p:cNvSpPr txBox="1">
            <a:spLocks/>
          </p:cNvSpPr>
          <p:nvPr userDrawn="1"/>
        </p:nvSpPr>
        <p:spPr>
          <a:xfrm>
            <a:off x="657225" y="6624654"/>
            <a:ext cx="1776413" cy="99996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Segoe UI Variable Text" pitchFamily="2" charset="0"/>
                <a:ea typeface="+mj-ea"/>
                <a:cs typeface="Segoe Sans Display" pitchFamily="2" charset="0"/>
              </a:rPr>
              <a:t>Microsoft High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3669497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04">
          <p15:clr>
            <a:srgbClr val="FBAE40"/>
          </p15:clr>
        </p15:guide>
        <p15:guide id="2" pos="3456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Dark">
    <p:bg>
      <p:bgPr>
        <a:solidFill>
          <a:schemeClr val="tx1">
            <a:lumMod val="95000"/>
            <a:lumOff val="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B00123BB-8A4D-9A19-8271-8455B0775882}"/>
              </a:ext>
            </a:extLst>
          </p:cNvPr>
          <p:cNvGrpSpPr/>
          <p:nvPr userDrawn="1"/>
        </p:nvGrpSpPr>
        <p:grpSpPr>
          <a:xfrm>
            <a:off x="594360" y="6627741"/>
            <a:ext cx="93750" cy="93822"/>
            <a:chOff x="330026" y="6625887"/>
            <a:chExt cx="93750" cy="93822"/>
          </a:xfrm>
          <a:solidFill>
            <a:schemeClr val="bg1">
              <a:lumMod val="65000"/>
            </a:schemeClr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55FE8E8-FD47-AFEA-3132-812BC9F8D768}"/>
                </a:ext>
              </a:extLst>
            </p:cNvPr>
            <p:cNvSpPr/>
            <p:nvPr userDrawn="1"/>
          </p:nvSpPr>
          <p:spPr>
            <a:xfrm>
              <a:off x="330026" y="6625887"/>
              <a:ext cx="43567" cy="435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Sans Display" pitchFamily="2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DAEA2BD5-B3B4-100D-FD1D-349CC2B4EAE9}"/>
                </a:ext>
              </a:extLst>
            </p:cNvPr>
            <p:cNvSpPr/>
            <p:nvPr userDrawn="1"/>
          </p:nvSpPr>
          <p:spPr>
            <a:xfrm>
              <a:off x="380209" y="6625887"/>
              <a:ext cx="43567" cy="435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Sans Display" pitchFamily="2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DEF2B3E-6C91-EA48-6682-522B7A0C5AB3}"/>
                </a:ext>
              </a:extLst>
            </p:cNvPr>
            <p:cNvSpPr/>
            <p:nvPr userDrawn="1"/>
          </p:nvSpPr>
          <p:spPr>
            <a:xfrm>
              <a:off x="330026" y="6676142"/>
              <a:ext cx="43567" cy="435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Sans Display" pitchFamily="2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9452379F-B230-E92F-75B8-B0F758EAA036}"/>
                </a:ext>
              </a:extLst>
            </p:cNvPr>
            <p:cNvSpPr/>
            <p:nvPr userDrawn="1"/>
          </p:nvSpPr>
          <p:spPr>
            <a:xfrm>
              <a:off x="380209" y="6676142"/>
              <a:ext cx="43567" cy="435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Sans Display" pitchFamily="2" charset="0"/>
              </a:endParaRPr>
            </a:p>
          </p:txBody>
        </p:sp>
      </p:grpSp>
      <p:sp>
        <p:nvSpPr>
          <p:cNvPr id="9" name="Title 1">
            <a:extLst>
              <a:ext uri="{FF2B5EF4-FFF2-40B4-BE49-F238E27FC236}">
                <a16:creationId xmlns:a16="http://schemas.microsoft.com/office/drawing/2014/main" id="{BADF8B88-BD91-8BC5-5A67-898537852118}"/>
              </a:ext>
            </a:extLst>
          </p:cNvPr>
          <p:cNvSpPr txBox="1">
            <a:spLocks/>
          </p:cNvSpPr>
          <p:nvPr userDrawn="1"/>
        </p:nvSpPr>
        <p:spPr>
          <a:xfrm>
            <a:off x="809625" y="6624654"/>
            <a:ext cx="1624013" cy="99996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Segoe Sans Display" pitchFamily="2" charset="0"/>
                <a:ea typeface="+mj-ea"/>
                <a:cs typeface="Segoe Sans Display" pitchFamily="2" charset="0"/>
              </a:rPr>
              <a:t>Microsoft High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397337207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304">
          <p15:clr>
            <a:srgbClr val="FBAE40"/>
          </p15:clr>
        </p15:guide>
        <p15:guide id="2" pos="345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Dark">
    <p:bg>
      <p:bgPr>
        <a:solidFill>
          <a:schemeClr val="tx1">
            <a:lumMod val="95000"/>
            <a:lumOff val="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">
            <a:extLst>
              <a:ext uri="{FF2B5EF4-FFF2-40B4-BE49-F238E27FC236}">
                <a16:creationId xmlns:a16="http://schemas.microsoft.com/office/drawing/2014/main" id="{48C8B1F9-71DC-AE05-5027-304462D26356}"/>
              </a:ext>
            </a:extLst>
          </p:cNvPr>
          <p:cNvSpPr/>
          <p:nvPr userDrawn="1"/>
        </p:nvSpPr>
        <p:spPr>
          <a:xfrm>
            <a:off x="330028" y="6487247"/>
            <a:ext cx="11531947" cy="0"/>
          </a:xfrm>
          <a:prstGeom prst="line">
            <a:avLst/>
          </a:prstGeom>
          <a:ln w="6350">
            <a:solidFill>
              <a:schemeClr val="bg1">
                <a:lumMod val="65000"/>
              </a:schemeClr>
            </a:solidFill>
            <a:miter lim="400000"/>
          </a:ln>
        </p:spPr>
        <p:txBody>
          <a:bodyPr lIns="23813" tIns="23813" rIns="23813" bIns="23813" anchor="ctr"/>
          <a:lstStyle/>
          <a:p>
            <a:endParaRPr sz="844"/>
          </a:p>
        </p:txBody>
      </p:sp>
      <p:sp>
        <p:nvSpPr>
          <p:cNvPr id="5" name="06 01 — 2020">
            <a:extLst>
              <a:ext uri="{FF2B5EF4-FFF2-40B4-BE49-F238E27FC236}">
                <a16:creationId xmlns:a16="http://schemas.microsoft.com/office/drawing/2014/main" id="{7909CA28-1794-538E-41D2-9AE53C4FF3C5}"/>
              </a:ext>
            </a:extLst>
          </p:cNvPr>
          <p:cNvSpPr txBox="1"/>
          <p:nvPr userDrawn="1"/>
        </p:nvSpPr>
        <p:spPr>
          <a:xfrm>
            <a:off x="11764575" y="6623380"/>
            <a:ext cx="97399" cy="8784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>
            <a:spAutoFit/>
          </a:bodyPr>
          <a:lstStyle>
            <a:lvl1pPr defTabSz="825500">
              <a:lnSpc>
                <a:spcPct val="110000"/>
              </a:lnSpc>
              <a:spcBef>
                <a:spcPts val="0"/>
              </a:spcBef>
              <a:defRPr sz="1200" spc="24">
                <a:solidFill>
                  <a:srgbClr val="929292"/>
                </a:solidFill>
                <a:latin typeface="Segoe Pro"/>
                <a:ea typeface="Segoe Pro"/>
                <a:cs typeface="Segoe Pro"/>
                <a:sym typeface="Segoe Pro"/>
              </a:defRPr>
            </a:lvl1pPr>
          </a:lstStyle>
          <a:p>
            <a:pPr algn="r"/>
            <a:fld id="{86CB4B4D-7CA3-9044-876B-883B54F8677D}" type="slidenum">
              <a:rPr lang="en-US" sz="563" smtClean="0">
                <a:solidFill>
                  <a:schemeClr val="bg1">
                    <a:lumMod val="65000"/>
                  </a:schemeClr>
                </a:solidFill>
                <a:latin typeface="Segoe UI" panose="020B0502040204020203" pitchFamily="34" charset="0"/>
              </a:rPr>
              <a:pPr algn="r"/>
              <a:t>‹#›</a:t>
            </a:fld>
            <a:endParaRPr sz="563">
              <a:solidFill>
                <a:schemeClr val="bg1">
                  <a:lumMod val="65000"/>
                </a:schemeClr>
              </a:solidFill>
              <a:latin typeface="Segoe UI" panose="020B0502040204020203" pitchFamily="34" charset="0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B00123BB-8A4D-9A19-8271-8455B0775882}"/>
              </a:ext>
            </a:extLst>
          </p:cNvPr>
          <p:cNvGrpSpPr/>
          <p:nvPr userDrawn="1"/>
        </p:nvGrpSpPr>
        <p:grpSpPr>
          <a:xfrm>
            <a:off x="330026" y="6625887"/>
            <a:ext cx="93750" cy="93822"/>
            <a:chOff x="330026" y="6625887"/>
            <a:chExt cx="93750" cy="93822"/>
          </a:xfrm>
          <a:solidFill>
            <a:schemeClr val="bg1">
              <a:lumMod val="65000"/>
            </a:schemeClr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55FE8E8-FD47-AFEA-3132-812BC9F8D768}"/>
                </a:ext>
              </a:extLst>
            </p:cNvPr>
            <p:cNvSpPr/>
            <p:nvPr userDrawn="1"/>
          </p:nvSpPr>
          <p:spPr>
            <a:xfrm>
              <a:off x="330026" y="6625887"/>
              <a:ext cx="43567" cy="435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DAEA2BD5-B3B4-100D-FD1D-349CC2B4EAE9}"/>
                </a:ext>
              </a:extLst>
            </p:cNvPr>
            <p:cNvSpPr/>
            <p:nvPr userDrawn="1"/>
          </p:nvSpPr>
          <p:spPr>
            <a:xfrm>
              <a:off x="380209" y="6625887"/>
              <a:ext cx="43567" cy="435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DEF2B3E-6C91-EA48-6682-522B7A0C5AB3}"/>
                </a:ext>
              </a:extLst>
            </p:cNvPr>
            <p:cNvSpPr/>
            <p:nvPr userDrawn="1"/>
          </p:nvSpPr>
          <p:spPr>
            <a:xfrm>
              <a:off x="330026" y="6676142"/>
              <a:ext cx="43567" cy="435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9452379F-B230-E92F-75B8-B0F758EAA036}"/>
                </a:ext>
              </a:extLst>
            </p:cNvPr>
            <p:cNvSpPr/>
            <p:nvPr userDrawn="1"/>
          </p:nvSpPr>
          <p:spPr>
            <a:xfrm>
              <a:off x="380209" y="6676142"/>
              <a:ext cx="43567" cy="435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7" name="Footer Placeholder 15">
            <a:extLst>
              <a:ext uri="{FF2B5EF4-FFF2-40B4-BE49-F238E27FC236}">
                <a16:creationId xmlns:a16="http://schemas.microsoft.com/office/drawing/2014/main" id="{DE53E81C-FD33-5133-2684-DA3D388809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62390" y="6578648"/>
            <a:ext cx="1923881" cy="187367"/>
          </a:xfrm>
        </p:spPr>
        <p:txBody>
          <a:bodyPr/>
          <a:lstStyle>
            <a:lvl1pPr algn="l">
              <a:defRPr sz="600">
                <a:solidFill>
                  <a:schemeClr val="bg1">
                    <a:lumMod val="65000"/>
                  </a:schemeClr>
                </a:solidFill>
                <a:latin typeface="Segoe UI" panose="020B0502040204020203" pitchFamily="34" charset="0"/>
              </a:defRPr>
            </a:lvl1pPr>
          </a:lstStyle>
          <a:p>
            <a:pPr>
              <a:defRPr/>
            </a:pPr>
            <a:endParaRPr lang="en-US"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47585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04">
          <p15:clr>
            <a:srgbClr val="FBAE40"/>
          </p15:clr>
        </p15:guide>
        <p15:guide id="2" pos="345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B380572-07A4-2ADD-6FF1-3A1CEE8F5C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1CAABC-D95E-4838-8CE2-FC16B5FC7DC6}" type="datetimeFigureOut">
              <a:rPr lang="en-US" smtClean="0"/>
              <a:t>4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BEB0E9B-39B1-946A-1C6B-C5A38E4C24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48C86E-B23B-7D6E-CD72-73DB8022B1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7F255F-3C42-4CFA-923C-99DFF8B163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88856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0E0C20-18CA-A818-5FCD-42CAD4BAF2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6471643-853B-111E-5527-9F7926AD106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ACA9087-6E51-22A7-F4F6-57ACF793992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9831148-1640-2162-3476-9A59813D70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1CAABC-D95E-4838-8CE2-FC16B5FC7DC6}" type="datetimeFigureOut">
              <a:rPr lang="en-US" smtClean="0"/>
              <a:t>4/17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1826F83-1083-1CC8-4A73-61978835CB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1D27A60-ABCA-2F59-BFD3-B5E468A9DC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7F255F-3C42-4CFA-923C-99DFF8B163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70739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64C68C-9E95-309E-F2BD-1AA9745681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ED7C62B-93FA-9B84-0C30-D4E248B7B04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B7D8AEB-0303-AA90-D8CA-5628ED54CC1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7509258-2BA1-CA0F-226F-DFDD606AFE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1CAABC-D95E-4838-8CE2-FC16B5FC7DC6}" type="datetimeFigureOut">
              <a:rPr lang="en-US" smtClean="0"/>
              <a:t>4/17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15F4F3D-2C60-3FA4-D248-67E436BEED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E72828D-28EE-6501-7670-9B9BC29A9D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7F255F-3C42-4CFA-923C-99DFF8B163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81359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34EBEDA-1A82-0D9E-AA42-D4E95C15A0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9C658C5-CD8A-B105-ECD8-58716359EC4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B3D215-263A-C228-2034-E56AF7568F3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  <a:latin typeface="Segoe Sans Display" pitchFamily="2" charset="0"/>
                <a:cs typeface="Segoe Sans Display" pitchFamily="2" charset="0"/>
              </a:defRPr>
            </a:lvl1pPr>
          </a:lstStyle>
          <a:p>
            <a:fld id="{211CAABC-D95E-4838-8CE2-FC16B5FC7DC6}" type="datetimeFigureOut">
              <a:rPr lang="en-US" smtClean="0"/>
              <a:pPr/>
              <a:t>4/1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69C507-BF35-BC7C-7267-94DBDCF719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  <a:latin typeface="Segoe Sans Display" pitchFamily="2" charset="0"/>
                <a:cs typeface="Segoe Sans Display" pitchFamily="2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43DFC18-BB84-5922-29CA-237A77BE1F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  <a:latin typeface="Segoe Sans Display" pitchFamily="2" charset="0"/>
                <a:cs typeface="Segoe Sans Display" pitchFamily="2" charset="0"/>
              </a:defRPr>
            </a:lvl1pPr>
          </a:lstStyle>
          <a:p>
            <a:fld id="{CE7F255F-3C42-4CFA-923C-99DFF8B1633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9471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  <p:sldLayoutId id="2147483709" r:id="rId49"/>
    <p:sldLayoutId id="2147483710" r:id="rId50"/>
    <p:sldLayoutId id="2147483711" r:id="rId51"/>
    <p:sldLayoutId id="2147483712" r:id="rId52"/>
    <p:sldLayoutId id="2147483713" r:id="rId53"/>
    <p:sldLayoutId id="2147483714" r:id="rId54"/>
    <p:sldLayoutId id="2147483715" r:id="rId55"/>
    <p:sldLayoutId id="2147483716" r:id="rId56"/>
    <p:sldLayoutId id="2147483717" r:id="rId57"/>
    <p:sldLayoutId id="2147483718" r:id="rId58"/>
    <p:sldLayoutId id="2147483719" r:id="rId59"/>
    <p:sldLayoutId id="2147483720" r:id="rId60"/>
    <p:sldLayoutId id="2147483721" r:id="rId61"/>
    <p:sldLayoutId id="2147483722" r:id="rId62"/>
    <p:sldLayoutId id="2147483723" r:id="rId6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Segoe Sans Display" pitchFamily="2" charset="0"/>
          <a:ea typeface="+mj-ea"/>
          <a:cs typeface="Segoe Sans Display" pitchFamily="2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Segoe Sans Display" pitchFamily="2" charset="0"/>
          <a:ea typeface="+mn-ea"/>
          <a:cs typeface="Segoe Sans Display" pitchFamily="2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Segoe Sans Display" pitchFamily="2" charset="0"/>
          <a:ea typeface="+mn-ea"/>
          <a:cs typeface="Segoe Sans Display" pitchFamily="2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Segoe Sans Display" pitchFamily="2" charset="0"/>
          <a:ea typeface="+mn-ea"/>
          <a:cs typeface="Segoe Sans Display" pitchFamily="2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Sans Display" pitchFamily="2" charset="0"/>
          <a:ea typeface="+mn-ea"/>
          <a:cs typeface="Segoe Sans Display" pitchFamily="2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Sans Display" pitchFamily="2" charset="0"/>
          <a:ea typeface="+mn-ea"/>
          <a:cs typeface="Segoe Sans Display" pitchFamily="2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4F8F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A197EF79-695D-EBC1-4381-E0A864392D0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04654094"/>
              </p:ext>
            </p:extLst>
          </p:nvPr>
        </p:nvGraphicFramePr>
        <p:xfrm>
          <a:off x="528980" y="1226551"/>
          <a:ext cx="11134039" cy="52062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33979">
                  <a:extLst>
                    <a:ext uri="{9D8B030D-6E8A-4147-A177-3AD203B41FA5}">
                      <a16:colId xmlns:a16="http://schemas.microsoft.com/office/drawing/2014/main" val="1854352519"/>
                    </a:ext>
                  </a:extLst>
                </a:gridCol>
                <a:gridCol w="2779124">
                  <a:extLst>
                    <a:ext uri="{9D8B030D-6E8A-4147-A177-3AD203B41FA5}">
                      <a16:colId xmlns:a16="http://schemas.microsoft.com/office/drawing/2014/main" val="2199216892"/>
                    </a:ext>
                  </a:extLst>
                </a:gridCol>
                <a:gridCol w="1170156">
                  <a:extLst>
                    <a:ext uri="{9D8B030D-6E8A-4147-A177-3AD203B41FA5}">
                      <a16:colId xmlns:a16="http://schemas.microsoft.com/office/drawing/2014/main" val="1255352130"/>
                    </a:ext>
                  </a:extLst>
                </a:gridCol>
                <a:gridCol w="1170156">
                  <a:extLst>
                    <a:ext uri="{9D8B030D-6E8A-4147-A177-3AD203B41FA5}">
                      <a16:colId xmlns:a16="http://schemas.microsoft.com/office/drawing/2014/main" val="4008831530"/>
                    </a:ext>
                  </a:extLst>
                </a:gridCol>
                <a:gridCol w="1170156">
                  <a:extLst>
                    <a:ext uri="{9D8B030D-6E8A-4147-A177-3AD203B41FA5}">
                      <a16:colId xmlns:a16="http://schemas.microsoft.com/office/drawing/2014/main" val="1942519429"/>
                    </a:ext>
                  </a:extLst>
                </a:gridCol>
                <a:gridCol w="1170156">
                  <a:extLst>
                    <a:ext uri="{9D8B030D-6E8A-4147-A177-3AD203B41FA5}">
                      <a16:colId xmlns:a16="http://schemas.microsoft.com/office/drawing/2014/main" val="917558040"/>
                    </a:ext>
                  </a:extLst>
                </a:gridCol>
                <a:gridCol w="1170156">
                  <a:extLst>
                    <a:ext uri="{9D8B030D-6E8A-4147-A177-3AD203B41FA5}">
                      <a16:colId xmlns:a16="http://schemas.microsoft.com/office/drawing/2014/main" val="2219955414"/>
                    </a:ext>
                  </a:extLst>
                </a:gridCol>
                <a:gridCol w="1170156">
                  <a:extLst>
                    <a:ext uri="{9D8B030D-6E8A-4147-A177-3AD203B41FA5}">
                      <a16:colId xmlns:a16="http://schemas.microsoft.com/office/drawing/2014/main" val="2382350682"/>
                    </a:ext>
                  </a:extLst>
                </a:gridCol>
              </a:tblGrid>
              <a:tr h="451610">
                <a:tc gridSpan="2">
                  <a:txBody>
                    <a:bodyPr/>
                    <a:lstStyle/>
                    <a:p>
                      <a:pPr marL="0" marR="0" lvl="0" indent="0" algn="ctr" defTabSz="9326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1" kern="1200">
                        <a:solidFill>
                          <a:schemeClr val="tx1"/>
                        </a:solidFill>
                        <a:latin typeface="Segoe Sans Display Semibold"/>
                        <a:ea typeface="+mn-ea"/>
                        <a:cs typeface="Segoe Sans Display Semibold"/>
                      </a:endParaRPr>
                    </a:p>
                  </a:txBody>
                  <a:tcPr marL="0" marR="182880" marT="91440" marB="91440" anchor="ctr">
                    <a:lnL w="12700" cmpd="sng">
                      <a:noFill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32667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400" b="0" i="0" u="none" strike="noStrike" kern="1200" cap="none" spc="0" normalizeH="0" baseline="0">
                        <a:ln>
                          <a:noFill/>
                        </a:ln>
                        <a:solidFill>
                          <a:srgbClr val="0A1E2C"/>
                        </a:solidFill>
                        <a:effectLst/>
                        <a:uLnTx/>
                        <a:uFillTx/>
                        <a:latin typeface="Segoe Sans Display Semibold"/>
                        <a:ea typeface="Segoe UI Black"/>
                        <a:cs typeface="Segoe Sans Display Semibold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4">
                      <a:solidFill>
                        <a:schemeClr val="bg1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6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-2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Segoe Sans Display Semibold"/>
                          <a:ea typeface="Segoe UI Symbol"/>
                          <a:cs typeface="Segoe Sans Display Semibold"/>
                        </a:rPr>
                        <a:t>Surface Laptop </a:t>
                      </a:r>
                    </a:p>
                    <a:p>
                      <a:pPr marL="0" marR="0" lvl="0" indent="0" algn="ctr" defTabSz="9326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-2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Segoe Sans Display Semibold"/>
                          <a:ea typeface="Segoe UI Symbol"/>
                          <a:cs typeface="Segoe Sans Display Semibold"/>
                        </a:rPr>
                        <a:t>for Business </a:t>
                      </a:r>
                    </a:p>
                    <a:p>
                      <a:pPr marL="0" marR="0" lvl="0" indent="0" algn="ctr" defTabSz="9326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-2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Segoe Sans Display Semibold"/>
                          <a:ea typeface="Segoe UI Symbol"/>
                          <a:cs typeface="Segoe Sans Display Semibold"/>
                        </a:rPr>
                        <a:t>Intel Core Ultra (Series 2)</a:t>
                      </a:r>
                    </a:p>
                  </a:txBody>
                  <a:tcPr marL="0" marR="0" marT="91440" marB="9144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6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spc="-20" dirty="0">
                          <a:solidFill>
                            <a:schemeClr val="tx1"/>
                          </a:solidFill>
                          <a:latin typeface="Segoe Sans Display Semibold"/>
                          <a:cs typeface="Segoe Sans Display Semibold"/>
                        </a:rPr>
                        <a:t>Surface Pro </a:t>
                      </a:r>
                    </a:p>
                    <a:p>
                      <a:pPr marL="0" marR="0" lvl="0" indent="0" algn="ctr" defTabSz="9326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-2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Segoe Sans Display Semibold"/>
                          <a:ea typeface="Segoe UI Symbol"/>
                          <a:cs typeface="Segoe Sans Display Semibold"/>
                        </a:rPr>
                        <a:t>for Business </a:t>
                      </a:r>
                    </a:p>
                    <a:p>
                      <a:pPr marL="0" marR="0" lvl="0" indent="0" algn="ctr" defTabSz="9326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-2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Segoe Sans Display Semibold"/>
                          <a:ea typeface="Segoe UI Symbol"/>
                          <a:cs typeface="Segoe Sans Display Semibold"/>
                        </a:rPr>
                        <a:t>Intel Core Ultra (Series 2)</a:t>
                      </a:r>
                    </a:p>
                  </a:txBody>
                  <a:tcPr marL="0" marR="0" marT="91440" marB="9144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66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-2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Segoe Sans Display Semibold"/>
                          <a:cs typeface="Segoe Sans Display Semibold"/>
                        </a:rPr>
                        <a:t>Surface Laptop for Business Snapdragon</a:t>
                      </a:r>
                    </a:p>
                  </a:txBody>
                  <a:tcPr marL="0" marR="0" marT="91440" marB="9144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ctr" defTabSz="93266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kumimoji="0" lang="en-US" sz="1000" spc="-20" dirty="0">
                          <a:solidFill>
                            <a:schemeClr val="tx1"/>
                          </a:solidFill>
                          <a:latin typeface="Segoe Sans Display Semibold"/>
                          <a:cs typeface="Segoe Sans Display Semibold"/>
                        </a:rPr>
                        <a:t>Surface Pro for Business Snapdragon </a:t>
                      </a:r>
                    </a:p>
                  </a:txBody>
                  <a:tcPr marL="0" marR="0" marT="91440" marB="9144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6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-2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Segoe Sans Display Semibold"/>
                          <a:ea typeface="Segoe UI Symbol"/>
                          <a:cs typeface="Segoe Sans Display Semibold"/>
                        </a:rPr>
                        <a:t>Surface Laptop 6</a:t>
                      </a:r>
                    </a:p>
                    <a:p>
                      <a:pPr marL="0" marR="0" lvl="0" indent="0" algn="ctr" defTabSz="9326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-2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Segoe Sans Display Semibold"/>
                          <a:ea typeface="Segoe UI Symbol"/>
                          <a:cs typeface="Segoe Sans Display Semibold"/>
                        </a:rPr>
                        <a:t>for Business</a:t>
                      </a:r>
                    </a:p>
                  </a:txBody>
                  <a:tcPr marL="0" marR="0" marT="91440" marB="9144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66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-2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Segoe Sans Display Semibold"/>
                          <a:cs typeface="Segoe Sans Display Semibold"/>
                        </a:rPr>
                        <a:t>Surface Pro 10</a:t>
                      </a:r>
                    </a:p>
                    <a:p>
                      <a:pPr marL="0" marR="0" lvl="0" indent="0" algn="ctr" defTabSz="93266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-2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Segoe Sans Display Semibold"/>
                          <a:cs typeface="Segoe Sans Display Semibold"/>
                        </a:rPr>
                        <a:t>for Business</a:t>
                      </a:r>
                    </a:p>
                  </a:txBody>
                  <a:tcPr marL="0" marR="0" marT="91440" marB="9144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9937088"/>
                  </a:ext>
                </a:extLst>
              </a:tr>
              <a:tr h="330757">
                <a:tc rowSpan="2">
                  <a:txBody>
                    <a:bodyPr/>
                    <a:lstStyle/>
                    <a:p>
                      <a:r>
                        <a:rPr lang="en-US" sz="1050" b="1" kern="1200">
                          <a:solidFill>
                            <a:schemeClr val="tx1"/>
                          </a:solidFill>
                          <a:latin typeface="Segoe Sans Display Semibold"/>
                          <a:ea typeface="+mn-ea"/>
                          <a:cs typeface="Segoe Sans Display Semibold"/>
                        </a:rPr>
                        <a:t>Power Supply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F4F8FE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b="0" kern="1200">
                          <a:solidFill>
                            <a:schemeClr val="tx1"/>
                          </a:solidFill>
                          <a:latin typeface="Segoe Sans Display"/>
                          <a:ea typeface="+mn-ea"/>
                          <a:cs typeface="Segoe Sans Display"/>
                        </a:rPr>
                        <a:t>65W Power Supply (SL)</a:t>
                      </a:r>
                      <a:endParaRPr lang="en-US" sz="1600" b="0">
                        <a:latin typeface="Segoe Sans Display"/>
                        <a:cs typeface="Segoe Sans Display"/>
                      </a:endParaRPr>
                    </a:p>
                  </a:txBody>
                  <a:tcPr marL="0" marR="182880" marT="91440" marB="91440" anchor="ctr"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6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Segoe UI"/>
                          <a:ea typeface="Segoe UI Symbol"/>
                          <a:cs typeface="Segoe UI"/>
                        </a:rPr>
                        <a:t>🌑</a:t>
                      </a:r>
                    </a:p>
                  </a:txBody>
                  <a:tcPr marL="0" marR="0" marT="91440" marB="9144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6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Segoe UI"/>
                          <a:ea typeface="Segoe UI Symbol"/>
                          <a:cs typeface="Segoe UI"/>
                        </a:rPr>
                        <a:t>🌑</a:t>
                      </a:r>
                    </a:p>
                  </a:txBody>
                  <a:tcPr marL="0" marR="0" marT="91440" marB="9144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6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Segoe UI"/>
                          <a:ea typeface="Segoe UI Symbol"/>
                          <a:cs typeface="Segoe UI"/>
                        </a:rPr>
                        <a:t>🌑</a:t>
                      </a:r>
                    </a:p>
                  </a:txBody>
                  <a:tcPr marL="0" marR="0" marT="91440" marB="9144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6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Segoe UI"/>
                          <a:ea typeface="Segoe UI Symbol"/>
                          <a:cs typeface="Segoe UI"/>
                        </a:rPr>
                        <a:t>🌑</a:t>
                      </a:r>
                    </a:p>
                  </a:txBody>
                  <a:tcPr marL="0" marR="0" marT="91440" marB="9144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6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Segoe UI"/>
                          <a:ea typeface="Segoe UI Symbol"/>
                          <a:cs typeface="Segoe UI"/>
                        </a:rPr>
                        <a:t>🌑</a:t>
                      </a:r>
                    </a:p>
                  </a:txBody>
                  <a:tcPr marL="0" marR="0" marT="91440" marB="9144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6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Segoe UI"/>
                          <a:ea typeface="Segoe UI Symbol"/>
                          <a:cs typeface="Segoe UI"/>
                        </a:rPr>
                        <a:t>🌑</a:t>
                      </a:r>
                    </a:p>
                  </a:txBody>
                  <a:tcPr marL="0" marR="0" marT="91440" marB="9144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0106433"/>
                  </a:ext>
                </a:extLst>
              </a:tr>
              <a:tr h="43252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 w="3174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en-US" sz="900" b="0" kern="1200">
                          <a:solidFill>
                            <a:schemeClr val="tx1"/>
                          </a:solidFill>
                          <a:latin typeface="Segoe Sans Display"/>
                          <a:ea typeface="+mn-ea"/>
                          <a:cs typeface="Segoe Sans Display"/>
                        </a:rPr>
                        <a:t>127W Power Supply (SL)</a:t>
                      </a:r>
                    </a:p>
                  </a:txBody>
                  <a:tcPr marL="0" marR="182880" marT="91440" marB="9144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6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Segoe UI"/>
                          <a:ea typeface="Segoe UI Symbol"/>
                          <a:cs typeface="Segoe UI"/>
                        </a:rPr>
                        <a:t>🌑</a:t>
                      </a:r>
                    </a:p>
                  </a:txBody>
                  <a:tcPr marL="0" marR="0" marT="91440" marB="9144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6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Segoe UI"/>
                          <a:ea typeface="Segoe UI Symbol"/>
                          <a:cs typeface="Segoe UI"/>
                        </a:rPr>
                        <a:t>🌑</a:t>
                      </a:r>
                    </a:p>
                  </a:txBody>
                  <a:tcPr marL="0" marR="0" marT="91440" marB="9144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6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Segoe UI"/>
                          <a:ea typeface="Segoe UI Symbol"/>
                          <a:cs typeface="Segoe UI"/>
                        </a:rPr>
                        <a:t>🌑</a:t>
                      </a:r>
                    </a:p>
                  </a:txBody>
                  <a:tcPr marL="0" marR="0" marT="91440" marB="9144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6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Segoe UI"/>
                          <a:ea typeface="Segoe UI Symbol"/>
                          <a:cs typeface="Segoe UI"/>
                        </a:rPr>
                        <a:t>🌑</a:t>
                      </a:r>
                    </a:p>
                  </a:txBody>
                  <a:tcPr marL="0" marR="0" marT="91440" marB="9144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6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Segoe UI"/>
                          <a:ea typeface="Segoe UI Symbol"/>
                          <a:cs typeface="Segoe UI"/>
                        </a:rPr>
                        <a:t>🌑</a:t>
                      </a:r>
                    </a:p>
                  </a:txBody>
                  <a:tcPr marL="0" marR="0" marT="91440" marB="9144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6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Segoe UI"/>
                          <a:ea typeface="Segoe UI Symbol"/>
                          <a:cs typeface="Segoe UI"/>
                        </a:rPr>
                        <a:t>🌑</a:t>
                      </a:r>
                    </a:p>
                  </a:txBody>
                  <a:tcPr marL="0" marR="0" marT="91440" marB="9144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1820407"/>
                  </a:ext>
                </a:extLst>
              </a:tr>
              <a:tr h="330757">
                <a:tc rowSpan="2">
                  <a:txBody>
                    <a:bodyPr/>
                    <a:lstStyle/>
                    <a:p>
                      <a:pPr marL="0" marR="0" lvl="0" indent="0" algn="l" defTabSz="9326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kern="1200">
                          <a:solidFill>
                            <a:schemeClr val="tx1"/>
                          </a:solidFill>
                          <a:latin typeface="Segoe Sans Display Semibold"/>
                          <a:ea typeface="+mn-ea"/>
                          <a:cs typeface="Segoe Sans Display Semibold"/>
                        </a:rPr>
                        <a:t>  Mice </a:t>
                      </a:r>
                    </a:p>
                  </a:txBody>
                  <a:tcPr marL="0" marR="182880" marT="91440" marB="91440" anchor="ctr">
                    <a:lnL w="12700" cmpd="sng">
                      <a:noFill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326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kern="1200">
                          <a:solidFill>
                            <a:schemeClr val="tx1"/>
                          </a:solidFill>
                          <a:latin typeface="Segoe Sans Display"/>
                          <a:ea typeface="+mn-ea"/>
                          <a:cs typeface="Segoe Sans Display"/>
                        </a:rPr>
                        <a:t>Arc Mouse </a:t>
                      </a:r>
                    </a:p>
                  </a:txBody>
                  <a:tcPr marL="0" marR="182880" marT="91440" marB="91440" anchor="ctr">
                    <a:lnL w="12700" cmpd="sng">
                      <a:noFill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6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Segoe UI"/>
                          <a:ea typeface="Segoe UI Symbol"/>
                          <a:cs typeface="Segoe UI"/>
                        </a:rPr>
                        <a:t>🌑</a:t>
                      </a:r>
                    </a:p>
                  </a:txBody>
                  <a:tcPr marL="0" marR="0" marT="91440" marB="9144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6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Segoe UI"/>
                          <a:ea typeface="Segoe UI Symbol"/>
                          <a:cs typeface="Segoe UI"/>
                        </a:rPr>
                        <a:t>🌑</a:t>
                      </a:r>
                    </a:p>
                  </a:txBody>
                  <a:tcPr marL="0" marR="0" marT="91440" marB="9144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6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Segoe UI"/>
                          <a:ea typeface="Segoe UI Symbol"/>
                          <a:cs typeface="Segoe UI"/>
                        </a:rPr>
                        <a:t>🌑</a:t>
                      </a:r>
                    </a:p>
                  </a:txBody>
                  <a:tcPr marL="0" marR="0" marT="91440" marB="9144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6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Segoe UI"/>
                          <a:ea typeface="Segoe UI Symbol"/>
                          <a:cs typeface="Segoe UI"/>
                        </a:rPr>
                        <a:t>🌑</a:t>
                      </a:r>
                    </a:p>
                  </a:txBody>
                  <a:tcPr marL="0" marR="0" marT="91440" marB="9144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6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Segoe UI"/>
                          <a:ea typeface="Segoe UI Symbol"/>
                          <a:cs typeface="Segoe UI"/>
                        </a:rPr>
                        <a:t>🌑</a:t>
                      </a:r>
                    </a:p>
                  </a:txBody>
                  <a:tcPr marL="0" marR="0" marT="91440" marB="9144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6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Segoe UI"/>
                          <a:ea typeface="Segoe UI Symbol"/>
                          <a:cs typeface="Segoe UI"/>
                        </a:rPr>
                        <a:t>🌑</a:t>
                      </a:r>
                    </a:p>
                  </a:txBody>
                  <a:tcPr marL="0" marR="0" marT="91440" marB="9144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69540783"/>
                  </a:ext>
                </a:extLst>
              </a:tr>
              <a:tr h="33075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326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kern="1200">
                          <a:solidFill>
                            <a:schemeClr val="tx1"/>
                          </a:solidFill>
                          <a:latin typeface="Segoe Sans Display"/>
                          <a:ea typeface="+mn-ea"/>
                          <a:cs typeface="Segoe Sans Display"/>
                        </a:rPr>
                        <a:t>Mouse </a:t>
                      </a:r>
                    </a:p>
                  </a:txBody>
                  <a:tcPr marL="0" marR="182880" marT="91440" marB="91440" anchor="ctr">
                    <a:lnL w="12700" cmpd="sng">
                      <a:noFill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6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Segoe UI"/>
                          <a:ea typeface="Segoe UI Symbol"/>
                          <a:cs typeface="Segoe UI"/>
                        </a:rPr>
                        <a:t>🌑</a:t>
                      </a:r>
                    </a:p>
                  </a:txBody>
                  <a:tcPr marL="0" marR="0" marT="91440" marB="9144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6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Segoe UI"/>
                          <a:ea typeface="Segoe UI Symbol"/>
                          <a:cs typeface="Segoe UI"/>
                        </a:rPr>
                        <a:t>🌑</a:t>
                      </a:r>
                    </a:p>
                  </a:txBody>
                  <a:tcPr marL="0" marR="0" marT="91440" marB="9144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6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Segoe UI"/>
                          <a:ea typeface="Segoe UI Symbol"/>
                          <a:cs typeface="Segoe UI"/>
                        </a:rPr>
                        <a:t>🌑</a:t>
                      </a:r>
                    </a:p>
                  </a:txBody>
                  <a:tcPr marL="0" marR="0" marT="91440" marB="9144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6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Segoe UI"/>
                          <a:ea typeface="Segoe UI Symbol"/>
                          <a:cs typeface="Segoe UI"/>
                        </a:rPr>
                        <a:t>🌑</a:t>
                      </a:r>
                    </a:p>
                  </a:txBody>
                  <a:tcPr marL="0" marR="0" marT="91440" marB="9144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6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Segoe UI"/>
                          <a:ea typeface="Segoe UI Symbol"/>
                          <a:cs typeface="Segoe UI"/>
                        </a:rPr>
                        <a:t>🌑</a:t>
                      </a:r>
                    </a:p>
                  </a:txBody>
                  <a:tcPr marL="0" marR="0" marT="91440" marB="9144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6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Segoe UI"/>
                          <a:ea typeface="Segoe UI Symbol"/>
                          <a:cs typeface="Segoe UI"/>
                        </a:rPr>
                        <a:t>🌑</a:t>
                      </a:r>
                    </a:p>
                  </a:txBody>
                  <a:tcPr marL="0" marR="0" marT="91440" marB="9144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9011522"/>
                  </a:ext>
                </a:extLst>
              </a:tr>
              <a:tr h="330757">
                <a:tc rowSpan="3">
                  <a:txBody>
                    <a:bodyPr/>
                    <a:lstStyle/>
                    <a:p>
                      <a:pPr marL="0" marR="0" lvl="0" indent="0" algn="l" defTabSz="9326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kern="1200">
                          <a:solidFill>
                            <a:schemeClr val="tx1"/>
                          </a:solidFill>
                          <a:latin typeface="Segoe Sans Display Semibold"/>
                          <a:ea typeface="+mn-ea"/>
                          <a:cs typeface="Segoe Sans Display Semibold"/>
                        </a:rPr>
                        <a:t>  Keyboards</a:t>
                      </a:r>
                    </a:p>
                  </a:txBody>
                  <a:tcPr marL="0" marR="182880" marT="91440" marB="91440" anchor="ctr">
                    <a:lnL w="12700" cmpd="sng">
                      <a:noFill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326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kern="1200">
                          <a:solidFill>
                            <a:schemeClr val="tx1"/>
                          </a:solidFill>
                          <a:latin typeface="Segoe Sans Display"/>
                          <a:ea typeface="+mn-ea"/>
                          <a:cs typeface="Segoe Sans Display"/>
                        </a:rPr>
                        <a:t>Keyboard (2</a:t>
                      </a:r>
                      <a:r>
                        <a:rPr lang="en-US" sz="900" b="0" kern="1200" baseline="30000">
                          <a:solidFill>
                            <a:schemeClr val="tx1"/>
                          </a:solidFill>
                          <a:latin typeface="Segoe Sans Display"/>
                          <a:ea typeface="+mn-ea"/>
                          <a:cs typeface="Segoe Sans Display"/>
                        </a:rPr>
                        <a:t>nd</a:t>
                      </a:r>
                      <a:r>
                        <a:rPr lang="en-US" sz="900" b="0" kern="1200">
                          <a:solidFill>
                            <a:schemeClr val="tx1"/>
                          </a:solidFill>
                          <a:latin typeface="Segoe Sans Display"/>
                          <a:ea typeface="+mn-ea"/>
                          <a:cs typeface="Segoe Sans Display"/>
                        </a:rPr>
                        <a:t> edition)</a:t>
                      </a:r>
                    </a:p>
                  </a:txBody>
                  <a:tcPr marL="0" marR="182880" marT="91440" marB="91440" anchor="ctr">
                    <a:lnL w="12700" cmpd="sng">
                      <a:noFill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6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Segoe UI"/>
                          <a:ea typeface="Segoe UI Symbol"/>
                          <a:cs typeface="Segoe UI"/>
                        </a:rPr>
                        <a:t>🌑</a:t>
                      </a:r>
                    </a:p>
                  </a:txBody>
                  <a:tcPr marL="0" marR="0" marT="91440" marB="9144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6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Segoe UI"/>
                          <a:ea typeface="Segoe UI Symbol"/>
                          <a:cs typeface="Segoe UI"/>
                        </a:rPr>
                        <a:t>🌑</a:t>
                      </a:r>
                    </a:p>
                  </a:txBody>
                  <a:tcPr marL="0" marR="0" marT="91440" marB="9144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6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Segoe UI"/>
                          <a:ea typeface="Segoe UI Symbol"/>
                          <a:cs typeface="Segoe UI"/>
                        </a:rPr>
                        <a:t>🌑</a:t>
                      </a:r>
                    </a:p>
                  </a:txBody>
                  <a:tcPr marL="0" marR="0" marT="91440" marB="9144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6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Segoe UI"/>
                          <a:ea typeface="Segoe UI Symbol"/>
                          <a:cs typeface="Segoe UI"/>
                        </a:rPr>
                        <a:t>🌑</a:t>
                      </a:r>
                    </a:p>
                  </a:txBody>
                  <a:tcPr marL="0" marR="0" marT="91440" marB="9144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6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Segoe UI"/>
                          <a:ea typeface="Segoe UI Symbol"/>
                          <a:cs typeface="Segoe UI"/>
                        </a:rPr>
                        <a:t>🌑</a:t>
                      </a:r>
                    </a:p>
                  </a:txBody>
                  <a:tcPr marL="0" marR="0" marT="91440" marB="9144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6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Segoe UI"/>
                          <a:ea typeface="Segoe UI Symbol"/>
                          <a:cs typeface="Segoe UI"/>
                        </a:rPr>
                        <a:t>🌑</a:t>
                      </a:r>
                    </a:p>
                  </a:txBody>
                  <a:tcPr marL="0" marR="0" marT="91440" marB="9144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5050307"/>
                  </a:ext>
                </a:extLst>
              </a:tr>
              <a:tr h="330757">
                <a:tc vMerge="1">
                  <a:txBody>
                    <a:bodyPr/>
                    <a:lstStyle/>
                    <a:p>
                      <a:pPr defTabSz="932667">
                        <a:tabLst/>
                        <a:defRPr/>
                      </a:pPr>
                      <a:endParaRPr lang="en-US"/>
                    </a:p>
                  </a:txBody>
                  <a:tcPr marL="0" marR="182880" marT="91440" marB="91440" anchor="ctr">
                    <a:lnL w="0">
                      <a:noFill/>
                    </a:lnL>
                    <a:lnR w="0">
                      <a:noFill/>
                    </a:lnR>
                    <a:lnT w="3174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kern="1200">
                          <a:solidFill>
                            <a:schemeClr val="tx1"/>
                          </a:solidFill>
                          <a:latin typeface="Segoe Sans Display"/>
                          <a:ea typeface="+mn-ea"/>
                          <a:cs typeface="Segoe Sans Display"/>
                        </a:rPr>
                        <a:t>Surface Pro Keyboard</a:t>
                      </a:r>
                    </a:p>
                  </a:txBody>
                  <a:tcPr marL="0" marR="182880" marT="91440" marB="91440" anchor="ctr">
                    <a:lnL w="0">
                      <a:noFill/>
                    </a:lnL>
                    <a:lnR w="0">
                      <a:noFill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ctr" defTabSz="93266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endParaRPr kumimoji="0" lang="en-US" sz="6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Segoe UI"/>
                        <a:ea typeface="Segoe UI Symbol"/>
                        <a:cs typeface="Segoe UI"/>
                      </a:endParaRPr>
                    </a:p>
                  </a:txBody>
                  <a:tcPr marL="0" marR="0" marT="91440" marB="91440" anchor="ctr">
                    <a:lnL w="0">
                      <a:noFill/>
                    </a:lnL>
                    <a:lnR w="0">
                      <a:noFill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ctr" defTabSz="93266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US" sz="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Segoe UI"/>
                        </a:rPr>
                        <a:t>🌑</a:t>
                      </a:r>
                      <a:endParaRPr kumimoji="0" lang="en-US"/>
                    </a:p>
                  </a:txBody>
                  <a:tcPr marL="0" marR="0" marT="91440" marB="91440" anchor="ctr">
                    <a:lnL w="0">
                      <a:noFill/>
                    </a:lnL>
                    <a:lnR w="0">
                      <a:noFill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ctr" defTabSz="93266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endParaRPr kumimoji="0" lang="en-US" sz="6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Segoe UI"/>
                        <a:ea typeface="Segoe UI Symbol"/>
                        <a:cs typeface="Segoe UI"/>
                      </a:endParaRPr>
                    </a:p>
                  </a:txBody>
                  <a:tcPr marL="0" marR="0" marT="91440" marB="91440" anchor="ctr">
                    <a:lnL w="0">
                      <a:noFill/>
                    </a:lnL>
                    <a:lnR w="0">
                      <a:noFill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ctr" defTabSz="93266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US" sz="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Segoe UI"/>
                        </a:rPr>
                        <a:t>🌑</a:t>
                      </a:r>
                      <a:endParaRPr kumimoji="0" lang="en-US"/>
                    </a:p>
                  </a:txBody>
                  <a:tcPr marL="0" marR="0" marT="91440" marB="91440" anchor="ctr">
                    <a:lnL w="0">
                      <a:noFill/>
                    </a:lnL>
                    <a:lnR w="0">
                      <a:noFill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ctr" defTabSz="93266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endParaRPr kumimoji="0" lang="en-US" sz="6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Segoe UI"/>
                        <a:ea typeface="Segoe UI Symbol"/>
                        <a:cs typeface="Segoe UI"/>
                      </a:endParaRPr>
                    </a:p>
                  </a:txBody>
                  <a:tcPr marL="0" marR="0" marT="91440" marB="91440" anchor="ctr">
                    <a:lnL w="0">
                      <a:noFill/>
                    </a:lnL>
                    <a:lnR w="0">
                      <a:noFill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ctr" defTabSz="93266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US" sz="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Segoe UI"/>
                        </a:rPr>
                        <a:t>🌑</a:t>
                      </a:r>
                      <a:endParaRPr kumimoji="0" lang="en-US"/>
                    </a:p>
                  </a:txBody>
                  <a:tcPr marL="0" marR="0" marT="91440" marB="91440" anchor="ctr">
                    <a:lnL w="0">
                      <a:noFill/>
                    </a:lnL>
                    <a:lnR w="0">
                      <a:noFill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8688653"/>
                  </a:ext>
                </a:extLst>
              </a:tr>
              <a:tr h="330757">
                <a:tc vMerge="1">
                  <a:txBody>
                    <a:bodyPr/>
                    <a:lstStyle/>
                    <a:p>
                      <a:pPr defTabSz="932667">
                        <a:tabLst/>
                        <a:defRPr/>
                      </a:pPr>
                      <a:endParaRPr lang="en-US"/>
                    </a:p>
                  </a:txBody>
                  <a:tcPr marL="0" marR="182880" marT="91440" marB="91440" anchor="ctr">
                    <a:lnL w="0">
                      <a:noFill/>
                    </a:lnL>
                    <a:lnR w="0">
                      <a:noFill/>
                    </a:lnR>
                    <a:lnT w="3174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kern="1200">
                          <a:solidFill>
                            <a:schemeClr val="tx1"/>
                          </a:solidFill>
                          <a:latin typeface="Segoe Sans Display"/>
                          <a:ea typeface="+mn-ea"/>
                          <a:cs typeface="Segoe Sans Display"/>
                        </a:rPr>
                        <a:t>Surface Pro Flex Keyboard</a:t>
                      </a:r>
                    </a:p>
                  </a:txBody>
                  <a:tcPr marL="0" marR="182880" marT="91440" marB="91440" anchor="ctr">
                    <a:lnL w="0">
                      <a:noFill/>
                    </a:lnL>
                    <a:lnR w="0">
                      <a:noFill/>
                    </a:lnR>
                    <a:lnT w="3174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ctr" defTabSz="93266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endParaRPr kumimoji="0" lang="en-US" sz="6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Segoe UI"/>
                        <a:ea typeface="Segoe UI Symbol"/>
                        <a:cs typeface="Segoe UI"/>
                      </a:endParaRPr>
                    </a:p>
                  </a:txBody>
                  <a:tcPr marL="0" marR="0" marT="91440" marB="91440" anchor="ctr">
                    <a:lnL w="0">
                      <a:noFill/>
                    </a:lnL>
                    <a:lnR w="0">
                      <a:noFill/>
                    </a:lnR>
                    <a:lnT w="3174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ctr" defTabSz="93266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US" sz="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Segoe UI"/>
                        </a:rPr>
                        <a:t>🌑</a:t>
                      </a:r>
                      <a:endParaRPr kumimoji="0" lang="en-US"/>
                    </a:p>
                  </a:txBody>
                  <a:tcPr marL="0" marR="0" marT="91440" marB="91440" anchor="ctr">
                    <a:lnL w="0">
                      <a:noFill/>
                    </a:lnL>
                    <a:lnR w="0">
                      <a:noFill/>
                    </a:lnR>
                    <a:lnT w="3174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ctr" defTabSz="93266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endParaRPr kumimoji="0" lang="en-US" sz="6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Segoe UI"/>
                        <a:ea typeface="Segoe UI Symbol"/>
                        <a:cs typeface="Segoe UI"/>
                      </a:endParaRPr>
                    </a:p>
                  </a:txBody>
                  <a:tcPr marL="0" marR="0" marT="91440" marB="91440" anchor="ctr">
                    <a:lnL w="0">
                      <a:noFill/>
                    </a:lnL>
                    <a:lnR w="0">
                      <a:noFill/>
                    </a:lnR>
                    <a:lnT w="3174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ctr" defTabSz="93266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US" sz="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Segoe UI"/>
                        </a:rPr>
                        <a:t>🌑</a:t>
                      </a:r>
                      <a:endParaRPr kumimoji="0" lang="en-US"/>
                    </a:p>
                  </a:txBody>
                  <a:tcPr marL="0" marR="0" marT="91440" marB="91440" anchor="ctr">
                    <a:lnL w="0">
                      <a:noFill/>
                    </a:lnL>
                    <a:lnR w="0">
                      <a:noFill/>
                    </a:lnR>
                    <a:lnT w="3174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ctr" defTabSz="93266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endParaRPr kumimoji="0" lang="en-US" sz="6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Segoe UI"/>
                        <a:ea typeface="Segoe UI Symbol"/>
                        <a:cs typeface="Segoe UI"/>
                      </a:endParaRPr>
                    </a:p>
                  </a:txBody>
                  <a:tcPr marL="0" marR="0" marT="91440" marB="91440" anchor="ctr">
                    <a:lnL w="0">
                      <a:noFill/>
                    </a:lnL>
                    <a:lnR w="0">
                      <a:noFill/>
                    </a:lnR>
                    <a:lnT w="3174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ctr" defTabSz="93266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US" sz="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Segoe UI"/>
                        </a:rPr>
                        <a:t>🌑</a:t>
                      </a:r>
                      <a:endParaRPr kumimoji="0" lang="en-US"/>
                    </a:p>
                  </a:txBody>
                  <a:tcPr marL="0" marR="0" marT="91440" marB="91440" anchor="ctr">
                    <a:lnL w="0">
                      <a:noFill/>
                    </a:lnL>
                    <a:lnR w="0">
                      <a:noFill/>
                    </a:lnR>
                    <a:lnT w="3174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5973554"/>
                  </a:ext>
                </a:extLst>
              </a:tr>
              <a:tr h="330757">
                <a:tc>
                  <a:txBody>
                    <a:bodyPr/>
                    <a:lstStyle/>
                    <a:p>
                      <a:pPr marL="0" lvl="0" indent="0" algn="l" defTabSz="93266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US" sz="1050" b="1" kern="1200">
                          <a:solidFill>
                            <a:schemeClr val="tx1"/>
                          </a:solidFill>
                          <a:latin typeface="Segoe Sans Display Semibold"/>
                          <a:ea typeface="+mn-ea"/>
                          <a:cs typeface="Segoe Sans Display Semibold"/>
                        </a:rPr>
                        <a:t>  Pen</a:t>
                      </a:r>
                    </a:p>
                  </a:txBody>
                  <a:tcPr marL="0" marR="182880" marT="91440" marB="91440" anchor="ctr">
                    <a:lnL w="0">
                      <a:noFill/>
                    </a:lnL>
                    <a:lnR w="0">
                      <a:noFill/>
                    </a:lnR>
                    <a:lnT w="3174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</a:lnT>
                    <a:lnB w="3174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kern="1200">
                          <a:solidFill>
                            <a:schemeClr val="tx1"/>
                          </a:solidFill>
                          <a:latin typeface="Segoe Sans Display"/>
                          <a:ea typeface="+mn-ea"/>
                          <a:cs typeface="Segoe Sans Display"/>
                        </a:rPr>
                        <a:t>Surface Slim Pen (2nd Edition)</a:t>
                      </a:r>
                    </a:p>
                  </a:txBody>
                  <a:tcPr marL="0" marR="182880" marT="91440" marB="91440" anchor="ctr">
                    <a:lnL w="0">
                      <a:noFill/>
                    </a:lnL>
                    <a:lnR w="0">
                      <a:noFill/>
                    </a:lnR>
                    <a:lnT w="3174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</a:lnT>
                    <a:lnB w="3174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ctr" defTabSz="93266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endParaRPr kumimoji="0" lang="en-US" sz="6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Segoe UI"/>
                        <a:ea typeface="Segoe UI Symbol"/>
                        <a:cs typeface="Segoe UI"/>
                      </a:endParaRPr>
                    </a:p>
                  </a:txBody>
                  <a:tcPr marL="0" marR="0" marT="91440" marB="91440" anchor="ctr">
                    <a:lnL w="0">
                      <a:noFill/>
                    </a:lnL>
                    <a:lnR w="0">
                      <a:noFill/>
                    </a:lnR>
                    <a:lnT w="3174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ctr" defTabSz="93266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US" sz="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Segoe UI"/>
                        </a:rPr>
                        <a:t>🌑</a:t>
                      </a:r>
                      <a:endParaRPr kumimoji="0" lang="en-US"/>
                    </a:p>
                  </a:txBody>
                  <a:tcPr marL="0" marR="0" marT="91440" marB="91440" anchor="ctr">
                    <a:lnL w="0">
                      <a:noFill/>
                    </a:lnL>
                    <a:lnR w="0">
                      <a:noFill/>
                    </a:lnR>
                    <a:lnT w="3174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</a:lnT>
                    <a:lnB w="3174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ctr" defTabSz="93266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endParaRPr kumimoji="0" lang="en-US" sz="6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Segoe UI"/>
                        <a:ea typeface="Segoe UI Symbol"/>
                        <a:cs typeface="Segoe UI"/>
                      </a:endParaRPr>
                    </a:p>
                  </a:txBody>
                  <a:tcPr marL="0" marR="0" marT="91440" marB="91440" anchor="ctr">
                    <a:lnL w="0">
                      <a:noFill/>
                    </a:lnL>
                    <a:lnR w="0">
                      <a:noFill/>
                    </a:lnR>
                    <a:lnT w="3174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</a:lnT>
                    <a:lnB w="3174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ctr" defTabSz="93266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US" sz="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Segoe UI"/>
                        </a:rPr>
                        <a:t>🌑</a:t>
                      </a:r>
                      <a:endParaRPr kumimoji="0" lang="en-US"/>
                    </a:p>
                  </a:txBody>
                  <a:tcPr marL="0" marR="0" marT="91440" marB="91440" anchor="ctr">
                    <a:lnL w="0">
                      <a:noFill/>
                    </a:lnL>
                    <a:lnR w="0">
                      <a:noFill/>
                    </a:lnR>
                    <a:lnT w="3174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</a:lnT>
                    <a:lnB w="3174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ctr" defTabSz="93266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endParaRPr kumimoji="0" lang="en-US" sz="6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Segoe UI"/>
                        <a:ea typeface="Segoe UI Symbol"/>
                        <a:cs typeface="Segoe UI"/>
                      </a:endParaRPr>
                    </a:p>
                  </a:txBody>
                  <a:tcPr marL="0" marR="0" marT="91440" marB="91440" anchor="ctr">
                    <a:lnL w="0">
                      <a:noFill/>
                    </a:lnL>
                    <a:lnR w="0">
                      <a:noFill/>
                    </a:lnR>
                    <a:lnT w="3174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</a:lnT>
                    <a:lnB w="3174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ctr" defTabSz="93266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US" sz="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Segoe UI"/>
                        </a:rPr>
                        <a:t>🌑</a:t>
                      </a:r>
                      <a:endParaRPr kumimoji="0" lang="en-US"/>
                    </a:p>
                  </a:txBody>
                  <a:tcPr marL="0" marR="0" marT="91440" marB="91440" anchor="ctr">
                    <a:lnL w="0">
                      <a:noFill/>
                    </a:lnL>
                    <a:lnR w="0">
                      <a:noFill/>
                    </a:lnR>
                    <a:lnT w="3174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</a:lnT>
                    <a:lnB w="3174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61957380"/>
                  </a:ext>
                </a:extLst>
              </a:tr>
              <a:tr h="330757">
                <a:tc rowSpan="3">
                  <a:txBody>
                    <a:bodyPr/>
                    <a:lstStyle/>
                    <a:p>
                      <a:pPr marL="0" marR="0" lvl="0" indent="0" algn="l" defTabSz="9326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kern="1200">
                          <a:solidFill>
                            <a:schemeClr val="tx1"/>
                          </a:solidFill>
                          <a:latin typeface="Segoe Sans Display Semibold"/>
                          <a:ea typeface="+mn-ea"/>
                          <a:cs typeface="Segoe Sans Display Semibold"/>
                        </a:rPr>
                        <a:t>  Docks</a:t>
                      </a:r>
                    </a:p>
                  </a:txBody>
                  <a:tcPr marL="0" marR="182880" marT="91440" marB="91440" anchor="ctr">
                    <a:lnL w="12700" cmpd="sng">
                      <a:noFill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4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326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kern="1200">
                          <a:solidFill>
                            <a:schemeClr val="tx1"/>
                          </a:solidFill>
                          <a:latin typeface="Segoe Sans Display"/>
                          <a:ea typeface="+mn-ea"/>
                          <a:cs typeface="Segoe Sans Display"/>
                        </a:rPr>
                        <a:t>USB-C Travel Hub</a:t>
                      </a:r>
                    </a:p>
                  </a:txBody>
                  <a:tcPr marL="0" marR="182880" marT="91440" marB="91440" anchor="ctr">
                    <a:lnL w="12700" cmpd="sng">
                      <a:noFill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4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6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Segoe UI"/>
                          <a:ea typeface="Segoe UI Symbol"/>
                          <a:cs typeface="Segoe UI"/>
                        </a:rPr>
                        <a:t>🌑</a:t>
                      </a:r>
                    </a:p>
                  </a:txBody>
                  <a:tcPr marL="0" marR="0" marT="91440" marB="9144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4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6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Segoe UI"/>
                          <a:ea typeface="Segoe UI Symbol"/>
                          <a:cs typeface="Segoe UI"/>
                        </a:rPr>
                        <a:t>🌑</a:t>
                      </a:r>
                    </a:p>
                  </a:txBody>
                  <a:tcPr marL="0" marR="0" marT="91440" marB="9144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4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6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Segoe UI"/>
                          <a:ea typeface="Segoe UI Symbol"/>
                          <a:cs typeface="Segoe UI"/>
                        </a:rPr>
                        <a:t>🌑</a:t>
                      </a:r>
                    </a:p>
                  </a:txBody>
                  <a:tcPr marL="0" marR="0" marT="91440" marB="9144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4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6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Segoe UI"/>
                          <a:ea typeface="Segoe UI Symbol"/>
                          <a:cs typeface="Segoe UI"/>
                        </a:rPr>
                        <a:t>🌑</a:t>
                      </a:r>
                    </a:p>
                  </a:txBody>
                  <a:tcPr marL="0" marR="0" marT="91440" marB="9144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4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6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Segoe UI"/>
                          <a:ea typeface="Segoe UI Symbol"/>
                          <a:cs typeface="Segoe UI"/>
                        </a:rPr>
                        <a:t>🌑</a:t>
                      </a:r>
                    </a:p>
                  </a:txBody>
                  <a:tcPr marL="0" marR="0" marT="91440" marB="9144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4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6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Segoe UI"/>
                          <a:ea typeface="Segoe UI Symbol"/>
                          <a:cs typeface="Segoe UI"/>
                        </a:rPr>
                        <a:t>🌑</a:t>
                      </a:r>
                    </a:p>
                  </a:txBody>
                  <a:tcPr marL="0" marR="0" marT="91440" marB="9144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4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8837211"/>
                  </a:ext>
                </a:extLst>
              </a:tr>
              <a:tr h="33075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326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kern="1200" dirty="0">
                          <a:solidFill>
                            <a:schemeClr val="tx1"/>
                          </a:solidFill>
                          <a:latin typeface="Segoe Sans Display Semibold"/>
                          <a:ea typeface="+mn-ea"/>
                          <a:cs typeface="Segoe Sans Display Semibold"/>
                        </a:rPr>
                        <a:t>NEW! </a:t>
                      </a:r>
                      <a:r>
                        <a:rPr lang="en-US" sz="900" b="0" kern="1200" dirty="0">
                          <a:solidFill>
                            <a:schemeClr val="tx1"/>
                          </a:solidFill>
                          <a:latin typeface="Segoe Sans Display"/>
                          <a:ea typeface="+mn-ea"/>
                          <a:cs typeface="Segoe Sans Display"/>
                        </a:rPr>
                        <a:t>Surface USB4 </a:t>
                      </a:r>
                    </a:p>
                  </a:txBody>
                  <a:tcPr marL="0" marR="182880" marT="91440" marB="91440" anchor="ctr">
                    <a:lnL w="12700" cmpd="sng">
                      <a:noFill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6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Segoe UI"/>
                          <a:ea typeface="Segoe UI Symbol"/>
                          <a:cs typeface="Segoe UI"/>
                        </a:rPr>
                        <a:t>🌑</a:t>
                      </a:r>
                    </a:p>
                  </a:txBody>
                  <a:tcPr marL="0" marR="0" marT="91440" marB="9144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6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Segoe UI"/>
                          <a:ea typeface="Segoe UI Symbol"/>
                          <a:cs typeface="Segoe UI"/>
                        </a:rPr>
                        <a:t>🌑</a:t>
                      </a:r>
                      <a:endParaRPr kumimoji="0" lang="en-US" sz="600" b="1" i="0" u="none" strike="noStrike" kern="1200" cap="none" spc="0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Segoe UI"/>
                        <a:ea typeface="Segoe UI Symbol"/>
                        <a:cs typeface="Segoe UI"/>
                      </a:endParaRPr>
                    </a:p>
                  </a:txBody>
                  <a:tcPr marL="0" marR="0" marT="91440" marB="9144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6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Segoe UI"/>
                          <a:ea typeface="Segoe UI Symbol"/>
                          <a:cs typeface="Segoe UI"/>
                        </a:rPr>
                        <a:t>🌑</a:t>
                      </a:r>
                    </a:p>
                  </a:txBody>
                  <a:tcPr marL="0" marR="0" marT="91440" marB="9144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6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Segoe UI"/>
                          <a:ea typeface="Segoe UI Symbol"/>
                          <a:cs typeface="Segoe UI"/>
                        </a:rPr>
                        <a:t>🌑</a:t>
                      </a:r>
                    </a:p>
                  </a:txBody>
                  <a:tcPr marL="0" marR="0" marT="91440" marB="9144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6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Segoe UI"/>
                          <a:ea typeface="Segoe UI Symbol"/>
                          <a:cs typeface="Segoe UI"/>
                        </a:rPr>
                        <a:t>🌑</a:t>
                      </a:r>
                    </a:p>
                  </a:txBody>
                  <a:tcPr marL="0" marR="0" marT="91440" marB="9144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6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Segoe UI"/>
                          <a:ea typeface="Segoe UI Symbol"/>
                          <a:cs typeface="Segoe UI"/>
                        </a:rPr>
                        <a:t>🌑</a:t>
                      </a:r>
                      <a:endParaRPr kumimoji="0" lang="en-US" sz="600" b="1" i="0" u="none" strike="noStrike" kern="1200" cap="none" spc="0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Segoe UI"/>
                        <a:ea typeface="Segoe UI Symbol"/>
                        <a:cs typeface="Segoe UI"/>
                      </a:endParaRPr>
                    </a:p>
                  </a:txBody>
                  <a:tcPr marL="0" marR="0" marT="91440" marB="9144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06116007"/>
                  </a:ext>
                </a:extLst>
              </a:tr>
              <a:tr h="33075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kern="1200">
                          <a:solidFill>
                            <a:schemeClr val="tx1"/>
                          </a:solidFill>
                          <a:latin typeface="Segoe Sans Display"/>
                          <a:ea typeface="+mn-ea"/>
                          <a:cs typeface="Segoe Sans Display"/>
                        </a:rPr>
                        <a:t>Thunderbolt™ 4 Dock </a:t>
                      </a:r>
                    </a:p>
                  </a:txBody>
                  <a:tcPr marL="0" marR="182880" marT="91440" marB="91440" anchor="ctr">
                    <a:lnL w="12700" cmpd="sng">
                      <a:noFill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6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Segoe UI"/>
                          <a:ea typeface="Segoe UI Symbol"/>
                          <a:cs typeface="Segoe UI"/>
                        </a:rPr>
                        <a:t>🌑</a:t>
                      </a:r>
                    </a:p>
                  </a:txBody>
                  <a:tcPr marL="0" marR="0" marT="91440" marB="9144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6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Segoe UI"/>
                          <a:ea typeface="Segoe UI Symbol"/>
                          <a:cs typeface="Segoe UI"/>
                        </a:rPr>
                        <a:t>🌑</a:t>
                      </a:r>
                      <a:endParaRPr kumimoji="0" lang="en-US" sz="600" b="1" i="0" u="none" strike="noStrike" kern="1200" cap="none" spc="0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Segoe UI"/>
                        <a:ea typeface="Segoe UI Symbol"/>
                        <a:cs typeface="Segoe UI"/>
                      </a:endParaRPr>
                    </a:p>
                  </a:txBody>
                  <a:tcPr marL="0" marR="0" marT="91440" marB="9144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6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Segoe UI"/>
                          <a:ea typeface="Segoe UI Symbol"/>
                          <a:cs typeface="Segoe UI"/>
                        </a:rPr>
                        <a:t>🌑</a:t>
                      </a:r>
                    </a:p>
                  </a:txBody>
                  <a:tcPr marL="0" marR="0" marT="91440" marB="9144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6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Segoe UI"/>
                          <a:ea typeface="Segoe UI Symbol"/>
                          <a:cs typeface="Segoe UI"/>
                        </a:rPr>
                        <a:t>🌑</a:t>
                      </a:r>
                    </a:p>
                  </a:txBody>
                  <a:tcPr marL="0" marR="0" marT="91440" marB="9144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6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Segoe UI"/>
                          <a:ea typeface="Segoe UI Symbol"/>
                          <a:cs typeface="Segoe UI"/>
                        </a:rPr>
                        <a:t>🌑</a:t>
                      </a:r>
                    </a:p>
                  </a:txBody>
                  <a:tcPr marL="0" marR="0" marT="91440" marB="9144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6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Segoe UI"/>
                          <a:ea typeface="Segoe UI Symbol"/>
                          <a:cs typeface="Segoe UI"/>
                        </a:rPr>
                        <a:t>🌑</a:t>
                      </a:r>
                      <a:endParaRPr kumimoji="0" lang="en-US" sz="600" b="1" i="0" u="none" strike="noStrike" kern="1200" cap="none" spc="0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Segoe UI"/>
                        <a:ea typeface="Segoe UI Symbol"/>
                        <a:cs typeface="Segoe UI"/>
                      </a:endParaRPr>
                    </a:p>
                  </a:txBody>
                  <a:tcPr marL="0" marR="0" marT="91440" marB="9144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4968099"/>
                  </a:ext>
                </a:extLst>
              </a:tr>
              <a:tr h="330757">
                <a:tc rowSpan="2">
                  <a:txBody>
                    <a:bodyPr/>
                    <a:lstStyle/>
                    <a:p>
                      <a:pPr marL="0" marR="0" lvl="0" indent="0" algn="l" defTabSz="9326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kern="1200">
                          <a:solidFill>
                            <a:schemeClr val="tx1"/>
                          </a:solidFill>
                          <a:latin typeface="Segoe Sans Display Semibold"/>
                          <a:ea typeface="+mn-ea"/>
                          <a:cs typeface="Segoe Sans Display Semibold"/>
                        </a:rPr>
                        <a:t>  Accessibility</a:t>
                      </a:r>
                    </a:p>
                  </a:txBody>
                  <a:tcPr marL="0" marR="182880" marT="91440" marB="91440" anchor="ctr">
                    <a:lnL w="12700" cmpd="sng">
                      <a:noFill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326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kern="1200">
                          <a:solidFill>
                            <a:schemeClr val="tx1"/>
                          </a:solidFill>
                          <a:latin typeface="Segoe Sans Display"/>
                          <a:ea typeface="+mn-ea"/>
                          <a:cs typeface="Segoe Sans Display"/>
                        </a:rPr>
                        <a:t>Surface Adaptive Kit</a:t>
                      </a:r>
                    </a:p>
                  </a:txBody>
                  <a:tcPr marL="0" marR="182880" marT="91440" marB="91440" anchor="ctr">
                    <a:lnL w="12700" cmpd="sng">
                      <a:noFill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6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Segoe UI"/>
                          <a:ea typeface="Segoe UI Symbol"/>
                          <a:cs typeface="Segoe UI"/>
                        </a:rPr>
                        <a:t>🌑</a:t>
                      </a:r>
                    </a:p>
                  </a:txBody>
                  <a:tcPr marL="0" marR="0" marT="91440" marB="9144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6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Segoe UI"/>
                          <a:ea typeface="Segoe UI Symbol"/>
                          <a:cs typeface="Segoe UI"/>
                        </a:rPr>
                        <a:t>🌑</a:t>
                      </a:r>
                    </a:p>
                  </a:txBody>
                  <a:tcPr marL="0" marR="0" marT="91440" marB="9144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6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Segoe UI"/>
                          <a:ea typeface="Segoe UI Symbol"/>
                          <a:cs typeface="Segoe UI"/>
                        </a:rPr>
                        <a:t>🌑</a:t>
                      </a:r>
                    </a:p>
                  </a:txBody>
                  <a:tcPr marL="0" marR="0" marT="91440" marB="9144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6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Segoe UI"/>
                          <a:ea typeface="Segoe UI Symbol"/>
                          <a:cs typeface="Segoe UI"/>
                        </a:rPr>
                        <a:t>🌑</a:t>
                      </a:r>
                    </a:p>
                  </a:txBody>
                  <a:tcPr marL="0" marR="0" marT="91440" marB="9144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6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Segoe UI"/>
                          <a:ea typeface="Segoe UI Symbol"/>
                          <a:cs typeface="Segoe UI"/>
                        </a:rPr>
                        <a:t>🌑</a:t>
                      </a:r>
                    </a:p>
                  </a:txBody>
                  <a:tcPr marL="0" marR="0" marT="91440" marB="9144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6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Segoe UI"/>
                          <a:ea typeface="Segoe UI Symbol"/>
                          <a:cs typeface="Segoe UI"/>
                        </a:rPr>
                        <a:t>🌑</a:t>
                      </a:r>
                    </a:p>
                  </a:txBody>
                  <a:tcPr marL="0" marR="0" marT="91440" marB="9144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85273364"/>
                  </a:ext>
                </a:extLst>
              </a:tr>
              <a:tr h="33075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 w="3174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326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kern="1200">
                          <a:solidFill>
                            <a:schemeClr val="tx1"/>
                          </a:solidFill>
                          <a:latin typeface="Segoe Sans Display"/>
                          <a:ea typeface="+mn-ea"/>
                          <a:cs typeface="Segoe Sans Display"/>
                        </a:rPr>
                        <a:t>Microsoft Adaptive Accessories </a:t>
                      </a:r>
                    </a:p>
                  </a:txBody>
                  <a:tcPr marL="0" marR="182880" marT="91440" marB="91440" anchor="ctr">
                    <a:lnL w="12700" cmpd="sng">
                      <a:noFill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6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Segoe UI"/>
                          <a:ea typeface="Segoe UI Symbol"/>
                          <a:cs typeface="Segoe UI"/>
                        </a:rPr>
                        <a:t>🌑</a:t>
                      </a:r>
                    </a:p>
                  </a:txBody>
                  <a:tcPr marL="0" marR="0" marT="91440" marB="9144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6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Segoe UI"/>
                          <a:ea typeface="Segoe UI Symbol"/>
                          <a:cs typeface="Segoe UI"/>
                        </a:rPr>
                        <a:t>🌑</a:t>
                      </a:r>
                    </a:p>
                  </a:txBody>
                  <a:tcPr marL="0" marR="0" marT="91440" marB="9144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6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Segoe UI"/>
                          <a:ea typeface="Segoe UI Symbol"/>
                          <a:cs typeface="Segoe UI"/>
                        </a:rPr>
                        <a:t>🌑</a:t>
                      </a:r>
                    </a:p>
                  </a:txBody>
                  <a:tcPr marL="0" marR="0" marT="91440" marB="9144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6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Segoe UI"/>
                          <a:ea typeface="Segoe UI Symbol"/>
                          <a:cs typeface="Segoe UI"/>
                        </a:rPr>
                        <a:t>🌑</a:t>
                      </a:r>
                    </a:p>
                  </a:txBody>
                  <a:tcPr marL="0" marR="0" marT="91440" marB="9144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6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Segoe UI"/>
                          <a:ea typeface="Segoe UI Symbol"/>
                          <a:cs typeface="Segoe UI"/>
                        </a:rPr>
                        <a:t>🌑</a:t>
                      </a:r>
                    </a:p>
                  </a:txBody>
                  <a:tcPr marL="0" marR="0" marT="91440" marB="9144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6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Segoe UI"/>
                          <a:ea typeface="Segoe UI Symbol"/>
                          <a:cs typeface="Segoe UI"/>
                        </a:rPr>
                        <a:t>🌑</a:t>
                      </a:r>
                    </a:p>
                  </a:txBody>
                  <a:tcPr marL="0" marR="0" marT="91440" marB="9144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8157459"/>
                  </a:ext>
                </a:extLst>
              </a:tr>
            </a:tbl>
          </a:graphicData>
        </a:graphic>
      </p:graphicFrame>
      <p:sp>
        <p:nvSpPr>
          <p:cNvPr id="3" name="Title 1">
            <a:extLst>
              <a:ext uri="{FF2B5EF4-FFF2-40B4-BE49-F238E27FC236}">
                <a16:creationId xmlns:a16="http://schemas.microsoft.com/office/drawing/2014/main" id="{290DB265-3601-4142-2A32-6B9235A4B7FB}"/>
              </a:ext>
            </a:extLst>
          </p:cNvPr>
          <p:cNvSpPr txBox="1">
            <a:spLocks/>
          </p:cNvSpPr>
          <p:nvPr/>
        </p:nvSpPr>
        <p:spPr>
          <a:xfrm>
            <a:off x="528979" y="642489"/>
            <a:ext cx="4319680" cy="369332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600" b="0" i="0" u="none" strike="noStrike" cap="none" spc="-50" normalizeH="0" baseline="0">
                <a:ln>
                  <a:noFill/>
                </a:ln>
                <a:gradFill flip="none" rotWithShape="1">
                  <a:gsLst>
                    <a:gs pos="0">
                      <a:srgbClr val="B2C1CD">
                        <a:lumMod val="40000"/>
                      </a:srgbClr>
                    </a:gs>
                    <a:gs pos="100000">
                      <a:srgbClr val="97C4DB"/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effectLst/>
                <a:uLnTx/>
                <a:uFillTx/>
                <a:latin typeface="Segoe Sans Display" pitchFamily="2" charset="0"/>
                <a:ea typeface="+mj-ea"/>
                <a:cs typeface="Segoe Sans Display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Display Semibold" pitchFamily="2" charset="0"/>
                <a:ea typeface="+mj-ea"/>
                <a:cs typeface="Segoe Sans Display Semibold" pitchFamily="2" charset="0"/>
              </a:rPr>
              <a:t>Accessories Compatibility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Display Semibold" pitchFamily="2" charset="0"/>
                <a:ea typeface="+mj-ea"/>
                <a:cs typeface="Segoe Sans Display Semibold" pitchFamily="2" charset="0"/>
              </a:rPr>
              <a:t> 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Display Semibold" pitchFamily="2" charset="0"/>
              <a:ea typeface="+mj-ea"/>
              <a:cs typeface="Segoe Sans Display Semibold" pitchFamily="2" charset="0"/>
            </a:endParaRPr>
          </a:p>
        </p:txBody>
      </p:sp>
      <p:sp>
        <p:nvSpPr>
          <p:cNvPr id="4" name="TextBox 1">
            <a:extLst>
              <a:ext uri="{FF2B5EF4-FFF2-40B4-BE49-F238E27FC236}">
                <a16:creationId xmlns:a16="http://schemas.microsoft.com/office/drawing/2014/main" id="{AB1F1C8C-B52E-46E1-8D82-0C795AE10A49}"/>
              </a:ext>
            </a:extLst>
          </p:cNvPr>
          <p:cNvSpPr txBox="1"/>
          <p:nvPr/>
        </p:nvSpPr>
        <p:spPr>
          <a:xfrm>
            <a:off x="528979" y="1228125"/>
            <a:ext cx="3657600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rgbClr val="1B1B1B"/>
                </a:solidFill>
                <a:latin typeface="Segoe UI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1B1B1B"/>
                </a:solidFill>
                <a:latin typeface="Segoe UI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1B1B1B"/>
                </a:solidFill>
                <a:latin typeface="Segoe UI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1B1B1B"/>
                </a:solidFill>
                <a:latin typeface="Segoe UI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1B1B1B"/>
                </a:solidFill>
                <a:latin typeface="Segoe UI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1B1B1B"/>
                </a:solidFill>
                <a:latin typeface="Segoe UI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1B1B1B"/>
                </a:solidFill>
                <a:latin typeface="Segoe UI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1B1B1B"/>
                </a:solidFill>
                <a:latin typeface="Segoe UI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1B1B1B"/>
                </a:solidFill>
                <a:latin typeface="Segoe UI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 w="3175"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Sans Display" pitchFamily="2" charset="0"/>
                <a:ea typeface="+mn-ea"/>
                <a:cs typeface="Segoe Sans Display" pitchFamily="2" charset="0"/>
              </a:rPr>
              <a:t>Surface Accessories </a:t>
            </a:r>
          </a:p>
        </p:txBody>
      </p:sp>
    </p:spTree>
    <p:extLst>
      <p:ext uri="{BB962C8B-B14F-4D97-AF65-F5344CB8AC3E}">
        <p14:creationId xmlns:p14="http://schemas.microsoft.com/office/powerpoint/2010/main" val="35297607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0 0.05463 L 0 -2.96296E-6 " pathEditMode="relative" rAng="0" ptsTypes="AA">
                                      <p:cBhvr>
                                        <p:cTn id="9" dur="14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731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.05463 L 0 -2.96296E-6 " pathEditMode="relative" rAng="0" ptsTypes="AA">
                                      <p:cBhvr>
                                        <p:cTn id="14" dur="14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731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.05463 L 0 -2.96296E-6 " pathEditMode="relative" rAng="0" ptsTypes="AA">
                                      <p:cBhvr>
                                        <p:cTn id="19" dur="14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73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3" grpId="1"/>
      <p:bldP spid="4" grpId="0"/>
      <p:bldP spid="4" grpId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EE3D5142BF05D44813E2DC99C686ABA" ma:contentTypeVersion="15" ma:contentTypeDescription="Create a new document." ma:contentTypeScope="" ma:versionID="bdeffd226dc5b7cf5fe35b14c7774d75">
  <xsd:schema xmlns:xsd="http://www.w3.org/2001/XMLSchema" xmlns:xs="http://www.w3.org/2001/XMLSchema" xmlns:p="http://schemas.microsoft.com/office/2006/metadata/properties" xmlns:ns1="http://schemas.microsoft.com/sharepoint/v3" xmlns:ns2="d6088ce7-3766-420d-82dd-652472fcd688" xmlns:ns3="230e9df3-be65-4c73-a93b-d1236ebd677e" targetNamespace="http://schemas.microsoft.com/office/2006/metadata/properties" ma:root="true" ma:fieldsID="c1839d37411716f1d1e54ae58fb0ce22" ns1:_="" ns2:_="" ns3:_="">
    <xsd:import namespace="http://schemas.microsoft.com/sharepoint/v3"/>
    <xsd:import namespace="d6088ce7-3766-420d-82dd-652472fcd688"/>
    <xsd:import namespace="230e9df3-be65-4c73-a93b-d1236ebd677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1:_ip_UnifiedCompliancePolicyProperties" minOccurs="0"/>
                <xsd:element ref="ns1:_ip_UnifiedCompliancePolicyUIAction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2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3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6088ce7-3766-420d-82dd-652472fcd68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e385fb40-52d4-4fae-9c5b-3e8ff8a5878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7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BillingMetadata" ma:index="22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0e9df3-be65-4c73-a93b-d1236ebd677e" elementFormDefault="qualified">
    <xsd:import namespace="http://schemas.microsoft.com/office/2006/documentManagement/types"/>
    <xsd:import namespace="http://schemas.microsoft.com/office/infopath/2007/PartnerControls"/>
    <xsd:element name="TaxCatchAll" ma:index="16" nillable="true" ma:displayName="Taxonomy Catch All Column" ma:hidden="true" ma:list="{bd3e80c6-30f0-4f46-97ff-8c3c7bafd514}" ma:internalName="TaxCatchAll" ma:showField="CatchAllData" ma:web="11e31a66-3d01-4b8f-b89a-1e61ecdea2d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  <TaxCatchAll xmlns="230e9df3-be65-4c73-a93b-d1236ebd677e" xsi:nil="true"/>
    <lcf76f155ced4ddcb4097134ff3c332f xmlns="d6088ce7-3766-420d-82dd-652472fcd688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4E2BE6F4-CCA1-4E07-9448-50AE432AF26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1833CA0-2BFB-43A4-AEAD-63006F898C9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d6088ce7-3766-420d-82dd-652472fcd688"/>
    <ds:schemaRef ds:uri="230e9df3-be65-4c73-a93b-d1236ebd677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A75BE4A0-5F7A-4498-8BC2-5801D6801DB2}">
  <ds:schemaRefs>
    <ds:schemaRef ds:uri="09aed9ac-427e-43c7-9657-e740b3bcdace"/>
    <ds:schemaRef ds:uri="230e9df3-be65-4c73-a93b-d1236ebd677e"/>
    <ds:schemaRef ds:uri="8f778cfc-b4c6-4128-817d-47aa835a29c5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XML/1998/namespace"/>
    <ds:schemaRef ds:uri="d6088ce7-3766-420d-82dd-652472fcd688"/>
  </ds:schemaRefs>
</ds:datastoreItem>
</file>

<file path=docMetadata/LabelInfo.xml><?xml version="1.0" encoding="utf-8"?>
<clbl:labelList xmlns:clbl="http://schemas.microsoft.com/office/2020/mipLabelMetadata">
  <clbl:label id="{f42aa342-8706-4288-bd11-ebb85995028c}" enabled="1" method="Privileged" siteId="{72f988bf-86f1-41af-91ab-2d7cd011db47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16</TotalTime>
  <Words>178</Words>
  <Application>Microsoft Office PowerPoint</Application>
  <PresentationFormat>Widescreen</PresentationFormat>
  <Paragraphs>10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ptos</vt:lpstr>
      <vt:lpstr>Arial</vt:lpstr>
      <vt:lpstr>Segoe Sans Display</vt:lpstr>
      <vt:lpstr>Segoe Sans Display Semibold</vt:lpstr>
      <vt:lpstr>Segoe UI</vt:lpstr>
      <vt:lpstr>Segoe UI Variable Text</vt:lpstr>
      <vt:lpstr>1_Office Theme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Claudia Quian</dc:creator>
  <cp:lastModifiedBy>Warner-Duncan, Zhane</cp:lastModifiedBy>
  <cp:revision>7</cp:revision>
  <dcterms:created xsi:type="dcterms:W3CDTF">2024-10-31T20:30:38Z</dcterms:created>
  <dcterms:modified xsi:type="dcterms:W3CDTF">2025-04-17T17:14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EE3D5142BF05D44813E2DC99C686ABA</vt:lpwstr>
  </property>
  <property fmtid="{D5CDD505-2E9C-101B-9397-08002B2CF9AE}" pid="3" name="MediaServiceImageTags">
    <vt:lpwstr/>
  </property>
</Properties>
</file>